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omments/comment1.xml" ContentType="application/vnd.openxmlformats-officedocument.presentationml.comment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charts/chart10.xml" ContentType="application/vnd.openxmlformats-officedocument.drawingml.chart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charts/chart11.xml" ContentType="application/vnd.openxmlformats-officedocument.drawingml.chart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charts/chart12.xml" ContentType="application/vnd.openxmlformats-officedocument.drawingml.chart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charts/chart13.xml" ContentType="application/vnd.openxmlformats-officedocument.drawingml.chart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comments/comment2.xml" ContentType="application/vnd.openxmlformats-officedocument.presentationml.comment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52" r:id="rId1"/>
    <p:sldMasterId id="2147484286" r:id="rId2"/>
  </p:sldMasterIdLst>
  <p:notesMasterIdLst>
    <p:notesMasterId r:id="rId36"/>
  </p:notesMasterIdLst>
  <p:handoutMasterIdLst>
    <p:handoutMasterId r:id="rId37"/>
  </p:handoutMasterIdLst>
  <p:sldIdLst>
    <p:sldId id="749" r:id="rId3"/>
    <p:sldId id="750" r:id="rId4"/>
    <p:sldId id="751" r:id="rId5"/>
    <p:sldId id="760" r:id="rId6"/>
    <p:sldId id="779" r:id="rId7"/>
    <p:sldId id="781" r:id="rId8"/>
    <p:sldId id="765" r:id="rId9"/>
    <p:sldId id="756" r:id="rId10"/>
    <p:sldId id="755" r:id="rId11"/>
    <p:sldId id="782" r:id="rId12"/>
    <p:sldId id="783" r:id="rId13"/>
    <p:sldId id="784" r:id="rId14"/>
    <p:sldId id="785" r:id="rId15"/>
    <p:sldId id="786" r:id="rId16"/>
    <p:sldId id="764" r:id="rId17"/>
    <p:sldId id="776" r:id="rId18"/>
    <p:sldId id="777" r:id="rId19"/>
    <p:sldId id="778" r:id="rId20"/>
    <p:sldId id="762" r:id="rId21"/>
    <p:sldId id="759" r:id="rId22"/>
    <p:sldId id="772" r:id="rId23"/>
    <p:sldId id="773" r:id="rId24"/>
    <p:sldId id="775" r:id="rId25"/>
    <p:sldId id="774" r:id="rId26"/>
    <p:sldId id="757" r:id="rId27"/>
    <p:sldId id="769" r:id="rId28"/>
    <p:sldId id="770" r:id="rId29"/>
    <p:sldId id="768" r:id="rId30"/>
    <p:sldId id="771" r:id="rId31"/>
    <p:sldId id="754" r:id="rId32"/>
    <p:sldId id="758" r:id="rId33"/>
    <p:sldId id="766" r:id="rId34"/>
    <p:sldId id="767" r:id="rId35"/>
  </p:sldIdLst>
  <p:sldSz cx="12192000" cy="6858000"/>
  <p:notesSz cx="6980238" cy="11887200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5EA75CE-F28D-4B23-B548-C390AB65053D}">
          <p14:sldIdLst>
            <p14:sldId id="749"/>
            <p14:sldId id="750"/>
            <p14:sldId id="751"/>
            <p14:sldId id="760"/>
            <p14:sldId id="779"/>
            <p14:sldId id="781"/>
            <p14:sldId id="765"/>
            <p14:sldId id="756"/>
            <p14:sldId id="755"/>
            <p14:sldId id="782"/>
            <p14:sldId id="783"/>
            <p14:sldId id="784"/>
            <p14:sldId id="785"/>
            <p14:sldId id="786"/>
            <p14:sldId id="764"/>
            <p14:sldId id="776"/>
            <p14:sldId id="777"/>
            <p14:sldId id="778"/>
            <p14:sldId id="762"/>
            <p14:sldId id="759"/>
            <p14:sldId id="772"/>
            <p14:sldId id="773"/>
            <p14:sldId id="775"/>
            <p14:sldId id="774"/>
            <p14:sldId id="757"/>
            <p14:sldId id="769"/>
            <p14:sldId id="770"/>
            <p14:sldId id="768"/>
            <p14:sldId id="771"/>
            <p14:sldId id="754"/>
            <p14:sldId id="758"/>
            <p14:sldId id="766"/>
            <p14:sldId id="767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rendino, Crista" initials="MC" lastIdx="2" clrIdx="0">
    <p:extLst>
      <p:ext uri="{19B8F6BF-5375-455C-9EA6-DF929625EA0E}">
        <p15:presenceInfo xmlns:p15="http://schemas.microsoft.com/office/powerpoint/2012/main" userId="S-1-5-21-1390067357-220523388-725345543-1838218" providerId="AD"/>
      </p:ext>
    </p:extLst>
  </p:cmAuthor>
  <p:cmAuthor id="2" name="Dattatrey, Surendra" initials="DS" lastIdx="1" clrIdx="1">
    <p:extLst>
      <p:ext uri="{19B8F6BF-5375-455C-9EA6-DF929625EA0E}">
        <p15:presenceInfo xmlns:p15="http://schemas.microsoft.com/office/powerpoint/2012/main" userId="S-1-5-21-1390067357-220523388-725345543-184943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1010"/>
    <a:srgbClr val="CBCBCB"/>
    <a:srgbClr val="D50024"/>
    <a:srgbClr val="D6002A"/>
    <a:srgbClr val="FECFCE"/>
    <a:srgbClr val="D6D2C4"/>
    <a:srgbClr val="D70029"/>
    <a:srgbClr val="D50129"/>
    <a:srgbClr val="D7002A"/>
    <a:srgbClr val="7D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57" autoAdjust="0"/>
    <p:restoredTop sz="95343" autoAdjust="0"/>
  </p:normalViewPr>
  <p:slideViewPr>
    <p:cSldViewPr snapToGrid="0" showGuides="1">
      <p:cViewPr varScale="1">
        <p:scale>
          <a:sx n="88" d="100"/>
          <a:sy n="88" d="100"/>
        </p:scale>
        <p:origin x="701" y="67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112" d="100"/>
          <a:sy n="112" d="100"/>
        </p:scale>
        <p:origin x="57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commentAuthors" Target="commentAuthor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ableStyles" Target="tableStyle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60969254820218E-2"/>
          <c:y val="0.1007532956685499"/>
          <c:w val="0.88170922355393422"/>
          <c:h val="0.840866290018832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708097928436911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7100-4E41-8943-76590E1A2CFB}"/>
                </c:ext>
              </c:extLst>
            </c:dLbl>
            <c:dLbl>
              <c:idx val="2"/>
              <c:layout>
                <c:manualLayout>
                  <c:x val="0"/>
                  <c:y val="-0.1318267419962335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7100-4E41-8943-76590E1A2CFB}"/>
                </c:ext>
              </c:extLst>
            </c:dLbl>
            <c:dLbl>
              <c:idx val="3"/>
              <c:layout>
                <c:manualLayout>
                  <c:x val="0"/>
                  <c:y val="-7.43879472693032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7100-4E41-8943-76590E1A2CFB}"/>
                </c:ext>
              </c:extLst>
            </c:dLbl>
            <c:dLbl>
              <c:idx val="4"/>
              <c:layout>
                <c:manualLayout>
                  <c:x val="0"/>
                  <c:y val="-7.25047080979284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7100-4E41-8943-76590E1A2CFB}"/>
                </c:ext>
              </c:extLst>
            </c:dLbl>
            <c:dLbl>
              <c:idx val="5"/>
              <c:layout>
                <c:manualLayout>
                  <c:x val="0"/>
                  <c:y val="-6.96798493408662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7100-4E41-8943-76590E1A2CFB}"/>
                </c:ext>
              </c:extLst>
            </c:dLbl>
            <c:dLbl>
              <c:idx val="6"/>
              <c:layout>
                <c:manualLayout>
                  <c:x val="0"/>
                  <c:y val="-6.40301318267419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7100-4E41-8943-76590E1A2CFB}"/>
                </c:ext>
              </c:extLst>
            </c:dLbl>
            <c:dLbl>
              <c:idx val="7"/>
              <c:layout>
                <c:manualLayout>
                  <c:x val="0"/>
                  <c:y val="-6.40301318267419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7100-4E41-8943-76590E1A2CFB}"/>
                </c:ext>
              </c:extLst>
            </c:dLbl>
            <c:dLbl>
              <c:idx val="8"/>
              <c:layout>
                <c:manualLayout>
                  <c:x val="0"/>
                  <c:y val="-6.40301318267419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7100-4E41-8943-76590E1A2CFB}"/>
                </c:ext>
              </c:extLst>
            </c:dLbl>
            <c:dLbl>
              <c:idx val="9"/>
              <c:layout>
                <c:manualLayout>
                  <c:x val="0"/>
                  <c:y val="-7.90960451977401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7100-4E41-8943-76590E1A2CF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785</c:v>
                </c:pt>
                <c:pt idx="1">
                  <c:v>489</c:v>
                </c:pt>
                <c:pt idx="2">
                  <c:v>140</c:v>
                </c:pt>
                <c:pt idx="3">
                  <c:v>31</c:v>
                </c:pt>
                <c:pt idx="4">
                  <c:v>28</c:v>
                </c:pt>
                <c:pt idx="5">
                  <c:v>22</c:v>
                </c:pt>
                <c:pt idx="6">
                  <c:v>11</c:v>
                </c:pt>
                <c:pt idx="7">
                  <c:v>11</c:v>
                </c:pt>
                <c:pt idx="8">
                  <c:v>11</c:v>
                </c:pt>
                <c:pt idx="9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100-4E41-8943-76590E1A2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17311264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7100-4E41-8943-76590E1A2CFB}"/>
                </c:ext>
              </c:extLst>
            </c:dLbl>
            <c:dLbl>
              <c:idx val="1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7100-4E41-8943-76590E1A2CFB}"/>
                </c:ext>
              </c:extLst>
            </c:dLbl>
            <c:dLbl>
              <c:idx val="2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C-7100-4E41-8943-76590E1A2CFB}"/>
                </c:ext>
              </c:extLst>
            </c:dLbl>
            <c:dLbl>
              <c:idx val="3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D-7100-4E41-8943-76590E1A2CFB}"/>
                </c:ext>
              </c:extLst>
            </c:dLbl>
            <c:dLbl>
              <c:idx val="4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E-7100-4E41-8943-76590E1A2CFB}"/>
                </c:ext>
              </c:extLst>
            </c:dLbl>
            <c:dLbl>
              <c:idx val="5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F-7100-4E41-8943-76590E1A2CFB}"/>
                </c:ext>
              </c:extLst>
            </c:dLbl>
            <c:dLbl>
              <c:idx val="6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0-7100-4E41-8943-76590E1A2CFB}"/>
                </c:ext>
              </c:extLst>
            </c:dLbl>
            <c:dLbl>
              <c:idx val="7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1-7100-4E41-8943-76590E1A2CFB}"/>
                </c:ext>
              </c:extLst>
            </c:dLbl>
            <c:dLbl>
              <c:idx val="8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2-7100-4E41-8943-76590E1A2CFB}"/>
                </c:ext>
              </c:extLst>
            </c:dLbl>
            <c:dLbl>
              <c:idx val="9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3-7100-4E41-8943-76590E1A2CF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J$2</c:f>
              <c:numCache>
                <c:formatCode>General</c:formatCode>
                <c:ptCount val="10"/>
                <c:pt idx="0">
                  <c:v>3.1</c:v>
                </c:pt>
                <c:pt idx="1">
                  <c:v>3.5</c:v>
                </c:pt>
                <c:pt idx="2">
                  <c:v>3.1</c:v>
                </c:pt>
                <c:pt idx="3">
                  <c:v>3.7</c:v>
                </c:pt>
                <c:pt idx="4">
                  <c:v>2.8</c:v>
                </c:pt>
                <c:pt idx="5">
                  <c:v>4.0999999999999996</c:v>
                </c:pt>
                <c:pt idx="6">
                  <c:v>3.3</c:v>
                </c:pt>
                <c:pt idx="7">
                  <c:v>3.5</c:v>
                </c:pt>
                <c:pt idx="8">
                  <c:v>3.6</c:v>
                </c:pt>
                <c:pt idx="9">
                  <c:v>3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4-7100-4E41-8943-76590E1A2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7311264"/>
        <c:axId val="2"/>
      </c:lineChart>
      <c:catAx>
        <c:axId val="3173112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17311264"/>
        <c:crosses val="min"/>
        <c:crossBetween val="between"/>
        <c:majorUnit val="100"/>
      </c:valAx>
      <c:valAx>
        <c:axId val="2"/>
        <c:scaling>
          <c:orientation val="minMax"/>
          <c:max val="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17311264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850746268656716E-2"/>
          <c:y val="9.9526066350710901E-2"/>
          <c:w val="0.94029850746268662"/>
          <c:h val="0.8511848341232227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473933649289099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2B0F-49DB-8ED8-17055C920FF3}"/>
                </c:ext>
              </c:extLst>
            </c:dLbl>
            <c:dLbl>
              <c:idx val="1"/>
              <c:layout>
                <c:manualLayout>
                  <c:x val="0"/>
                  <c:y val="-0.47582938388625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2B0F-49DB-8ED8-17055C920FF3}"/>
                </c:ext>
              </c:extLst>
            </c:dLbl>
            <c:dLbl>
              <c:idx val="2"/>
              <c:layout>
                <c:manualLayout>
                  <c:x val="0"/>
                  <c:y val="-0.4549763033175355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2B0F-49DB-8ED8-17055C920FF3}"/>
                </c:ext>
              </c:extLst>
            </c:dLbl>
            <c:dLbl>
              <c:idx val="3"/>
              <c:layout>
                <c:manualLayout>
                  <c:x val="0"/>
                  <c:y val="-0.2587677725118483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2B0F-49DB-8ED8-17055C920FF3}"/>
                </c:ext>
              </c:extLst>
            </c:dLbl>
            <c:dLbl>
              <c:idx val="4"/>
              <c:layout>
                <c:manualLayout>
                  <c:x val="0"/>
                  <c:y val="-0.187677725118483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2B0F-49DB-8ED8-17055C920FF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83</c:v>
                </c:pt>
                <c:pt idx="1">
                  <c:v>395</c:v>
                </c:pt>
                <c:pt idx="2">
                  <c:v>375</c:v>
                </c:pt>
                <c:pt idx="3">
                  <c:v>194</c:v>
                </c:pt>
                <c:pt idx="4">
                  <c:v>1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B0F-49DB-8ED8-17055C920F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17537632"/>
        <c:axId val="1"/>
      </c:barChart>
      <c:catAx>
        <c:axId val="4175376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9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175376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850746268656716E-2"/>
          <c:y val="9.9526066350710901E-2"/>
          <c:w val="0.94029850746268662"/>
          <c:h val="0.8511848341232227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725118483412322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2EE4-4E8F-A3D3-10CB7D43C9A0}"/>
                </c:ext>
              </c:extLst>
            </c:dLbl>
            <c:dLbl>
              <c:idx val="1"/>
              <c:layout>
                <c:manualLayout>
                  <c:x val="0"/>
                  <c:y val="-0.3440758293838862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2EE4-4E8F-A3D3-10CB7D43C9A0}"/>
                </c:ext>
              </c:extLst>
            </c:dLbl>
            <c:dLbl>
              <c:idx val="2"/>
              <c:layout>
                <c:manualLayout>
                  <c:x val="0"/>
                  <c:y val="-0.47582938388625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2EE4-4E8F-A3D3-10CB7D43C9A0}"/>
                </c:ext>
              </c:extLst>
            </c:dLbl>
            <c:dLbl>
              <c:idx val="3"/>
              <c:layout>
                <c:manualLayout>
                  <c:x val="0"/>
                  <c:y val="-0.3203791469194312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2EE4-4E8F-A3D3-10CB7D43C9A0}"/>
                </c:ext>
              </c:extLst>
            </c:dLbl>
            <c:dLbl>
              <c:idx val="4"/>
              <c:layout>
                <c:manualLayout>
                  <c:x val="0"/>
                  <c:y val="-0.3289099526066350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2EE4-4E8F-A3D3-10CB7D43C9A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11</c:v>
                </c:pt>
                <c:pt idx="1">
                  <c:v>267</c:v>
                </c:pt>
                <c:pt idx="2">
                  <c:v>387</c:v>
                </c:pt>
                <c:pt idx="3">
                  <c:v>245</c:v>
                </c:pt>
                <c:pt idx="4">
                  <c:v>2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EE4-4E8F-A3D3-10CB7D43C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22466544"/>
        <c:axId val="1"/>
      </c:barChart>
      <c:catAx>
        <c:axId val="2224665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8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224665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850746268656716E-2"/>
          <c:y val="9.9526066350710901E-2"/>
          <c:w val="0.94029850746268662"/>
          <c:h val="0.8511848341232227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13270142180094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1E06-4459-8989-D985E1AA63FE}"/>
                </c:ext>
              </c:extLst>
            </c:dLbl>
            <c:dLbl>
              <c:idx val="1"/>
              <c:layout>
                <c:manualLayout>
                  <c:x val="0"/>
                  <c:y val="-0.47582938388625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1E06-4459-8989-D985E1AA63FE}"/>
                </c:ext>
              </c:extLst>
            </c:dLbl>
            <c:dLbl>
              <c:idx val="2"/>
              <c:layout>
                <c:manualLayout>
                  <c:x val="0"/>
                  <c:y val="-0.4293838862559241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1E06-4459-8989-D985E1AA63FE}"/>
                </c:ext>
              </c:extLst>
            </c:dLbl>
            <c:dLbl>
              <c:idx val="3"/>
              <c:layout>
                <c:manualLayout>
                  <c:x val="0"/>
                  <c:y val="-0.1829383886255924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1E06-4459-8989-D985E1AA63FE}"/>
                </c:ext>
              </c:extLst>
            </c:dLbl>
            <c:dLbl>
              <c:idx val="4"/>
              <c:layout>
                <c:manualLayout>
                  <c:x val="0"/>
                  <c:y val="-0.1848341232227488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1E06-4459-8989-D985E1AA63F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68</c:v>
                </c:pt>
                <c:pt idx="1">
                  <c:v>439</c:v>
                </c:pt>
                <c:pt idx="2">
                  <c:v>391</c:v>
                </c:pt>
                <c:pt idx="3">
                  <c:v>137</c:v>
                </c:pt>
                <c:pt idx="4">
                  <c:v>1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E06-4459-8989-D985E1AA6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7528336"/>
        <c:axId val="1"/>
      </c:barChart>
      <c:catAx>
        <c:axId val="575283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3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75283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850746268656716E-2"/>
          <c:y val="9.9526066350710901E-2"/>
          <c:w val="0.94029850746268662"/>
          <c:h val="0.8511848341232227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317535545023696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AA20-441B-A9F4-154D2CCC1CDE}"/>
                </c:ext>
              </c:extLst>
            </c:dLbl>
            <c:dLbl>
              <c:idx val="1"/>
              <c:layout>
                <c:manualLayout>
                  <c:x val="0"/>
                  <c:y val="-0.47582938388625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AA20-441B-A9F4-154D2CCC1CDE}"/>
                </c:ext>
              </c:extLst>
            </c:dLbl>
            <c:dLbl>
              <c:idx val="2"/>
              <c:layout>
                <c:manualLayout>
                  <c:x val="0"/>
                  <c:y val="-0.419905213270142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AA20-441B-A9F4-154D2CCC1CDE}"/>
                </c:ext>
              </c:extLst>
            </c:dLbl>
            <c:dLbl>
              <c:idx val="3"/>
              <c:layout>
                <c:manualLayout>
                  <c:x val="0"/>
                  <c:y val="-0.2587677725118483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AA20-441B-A9F4-154D2CCC1CDE}"/>
                </c:ext>
              </c:extLst>
            </c:dLbl>
            <c:dLbl>
              <c:idx val="4"/>
              <c:layout>
                <c:manualLayout>
                  <c:x val="0"/>
                  <c:y val="-0.2473933649289099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AA20-441B-A9F4-154D2CCC1CD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96</c:v>
                </c:pt>
                <c:pt idx="1">
                  <c:v>297</c:v>
                </c:pt>
                <c:pt idx="2">
                  <c:v>258</c:v>
                </c:pt>
                <c:pt idx="3">
                  <c:v>146</c:v>
                </c:pt>
                <c:pt idx="4">
                  <c:v>1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A20-441B-A9F4-154D2CCC1C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31578256"/>
        <c:axId val="1"/>
      </c:barChart>
      <c:catAx>
        <c:axId val="4315782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315782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484351713859912E-2"/>
          <c:y val="9.1755319148936171E-2"/>
          <c:w val="0.91542473919523104"/>
          <c:h val="0.8257978723404255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0239361702127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2D34-43E6-8E12-D0A9046917BB}"/>
                </c:ext>
              </c:extLst>
            </c:dLbl>
            <c:dLbl>
              <c:idx val="1"/>
              <c:layout>
                <c:manualLayout>
                  <c:x val="0"/>
                  <c:y val="-0.110372340425531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2D34-43E6-8E12-D0A9046917BB}"/>
                </c:ext>
              </c:extLst>
            </c:dLbl>
            <c:dLbl>
              <c:idx val="2"/>
              <c:layout>
                <c:manualLayout>
                  <c:x val="0"/>
                  <c:y val="-0.1436170212765957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2D34-43E6-8E12-D0A9046917BB}"/>
                </c:ext>
              </c:extLst>
            </c:dLbl>
            <c:dLbl>
              <c:idx val="3"/>
              <c:layout>
                <c:manualLayout>
                  <c:x val="0"/>
                  <c:y val="-0.162234042553191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2D34-43E6-8E12-D0A9046917BB}"/>
                </c:ext>
              </c:extLst>
            </c:dLbl>
            <c:dLbl>
              <c:idx val="4"/>
              <c:layout>
                <c:manualLayout>
                  <c:x val="0"/>
                  <c:y val="-0.1928191489361702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2D34-43E6-8E12-D0A9046917BB}"/>
                </c:ext>
              </c:extLst>
            </c:dLbl>
            <c:dLbl>
              <c:idx val="5"/>
              <c:layout>
                <c:manualLayout>
                  <c:x val="0"/>
                  <c:y val="-0.228723404255319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2D34-43E6-8E12-D0A9046917BB}"/>
                </c:ext>
              </c:extLst>
            </c:dLbl>
            <c:dLbl>
              <c:idx val="6"/>
              <c:layout>
                <c:manualLayout>
                  <c:x val="0"/>
                  <c:y val="-0.2726063829787234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2D34-43E6-8E12-D0A9046917BB}"/>
                </c:ext>
              </c:extLst>
            </c:dLbl>
            <c:dLbl>
              <c:idx val="7"/>
              <c:layout>
                <c:manualLayout>
                  <c:x val="0"/>
                  <c:y val="-0.437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2D34-43E6-8E12-D0A9046917BB}"/>
                </c:ext>
              </c:extLst>
            </c:dLbl>
            <c:dLbl>
              <c:idx val="8"/>
              <c:layout>
                <c:manualLayout>
                  <c:x val="0"/>
                  <c:y val="-0.4587765957446808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2D34-43E6-8E12-D0A9046917BB}"/>
                </c:ext>
              </c:extLst>
            </c:dLbl>
            <c:dLbl>
              <c:idx val="9"/>
              <c:layout>
                <c:manualLayout>
                  <c:x val="0"/>
                  <c:y val="-0.4321808510638298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2D34-43E6-8E12-D0A9046917BB}"/>
                </c:ext>
              </c:extLst>
            </c:dLbl>
            <c:dLbl>
              <c:idx val="10"/>
              <c:layout>
                <c:manualLayout>
                  <c:x val="0"/>
                  <c:y val="-0.444148936170212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2D34-43E6-8E12-D0A9046917BB}"/>
                </c:ext>
              </c:extLst>
            </c:dLbl>
            <c:dLbl>
              <c:idx val="11"/>
              <c:layout>
                <c:manualLayout>
                  <c:x val="0"/>
                  <c:y val="-0.170212765957446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2D34-43E6-8E12-D0A9046917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25</c:v>
                </c:pt>
                <c:pt idx="1">
                  <c:v>35</c:v>
                </c:pt>
                <c:pt idx="2">
                  <c:v>75</c:v>
                </c:pt>
                <c:pt idx="3">
                  <c:v>97</c:v>
                </c:pt>
                <c:pt idx="4">
                  <c:v>134</c:v>
                </c:pt>
                <c:pt idx="5">
                  <c:v>177</c:v>
                </c:pt>
                <c:pt idx="6">
                  <c:v>230</c:v>
                </c:pt>
                <c:pt idx="7">
                  <c:v>396</c:v>
                </c:pt>
                <c:pt idx="8">
                  <c:v>456</c:v>
                </c:pt>
                <c:pt idx="9">
                  <c:v>424</c:v>
                </c:pt>
                <c:pt idx="10">
                  <c:v>438</c:v>
                </c:pt>
                <c:pt idx="11">
                  <c:v>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D34-43E6-8E12-D0A9046917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15825344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D-2D34-43E6-8E12-D0A9046917BB}"/>
                </c:ext>
              </c:extLst>
            </c:dLbl>
            <c:dLbl>
              <c:idx val="1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E-2D34-43E6-8E12-D0A9046917BB}"/>
                </c:ext>
              </c:extLst>
            </c:dLbl>
            <c:dLbl>
              <c:idx val="2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F-2D34-43E6-8E12-D0A9046917BB}"/>
                </c:ext>
              </c:extLst>
            </c:dLbl>
            <c:dLbl>
              <c:idx val="3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0-2D34-43E6-8E12-D0A9046917BB}"/>
                </c:ext>
              </c:extLst>
            </c:dLbl>
            <c:dLbl>
              <c:idx val="4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1-2D34-43E6-8E12-D0A9046917BB}"/>
                </c:ext>
              </c:extLst>
            </c:dLbl>
            <c:dLbl>
              <c:idx val="5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2-2D34-43E6-8E12-D0A9046917BB}"/>
                </c:ext>
              </c:extLst>
            </c:dLbl>
            <c:dLbl>
              <c:idx val="6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3-2D34-43E6-8E12-D0A9046917BB}"/>
                </c:ext>
              </c:extLst>
            </c:dLbl>
            <c:dLbl>
              <c:idx val="8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4-2D34-43E6-8E12-D0A9046917BB}"/>
                </c:ext>
              </c:extLst>
            </c:dLbl>
            <c:dLbl>
              <c:idx val="10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5-2D34-43E6-8E12-D0A9046917BB}"/>
                </c:ext>
              </c:extLst>
            </c:dLbl>
            <c:dLbl>
              <c:idx val="11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6-2D34-43E6-8E12-D0A9046917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3</c:v>
                </c:pt>
                <c:pt idx="1">
                  <c:v>2.9</c:v>
                </c:pt>
                <c:pt idx="2">
                  <c:v>3.2</c:v>
                </c:pt>
                <c:pt idx="3">
                  <c:v>2.9</c:v>
                </c:pt>
                <c:pt idx="4">
                  <c:v>3.2</c:v>
                </c:pt>
                <c:pt idx="5">
                  <c:v>3.3</c:v>
                </c:pt>
                <c:pt idx="6">
                  <c:v>3.3</c:v>
                </c:pt>
                <c:pt idx="7">
                  <c:v>3.3</c:v>
                </c:pt>
                <c:pt idx="8">
                  <c:v>3.4</c:v>
                </c:pt>
                <c:pt idx="9">
                  <c:v>3.4</c:v>
                </c:pt>
                <c:pt idx="10">
                  <c:v>3.5</c:v>
                </c:pt>
                <c:pt idx="11">
                  <c:v>3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2D34-43E6-8E12-D0A9046917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5825344"/>
        <c:axId val="2"/>
      </c:lineChart>
      <c:catAx>
        <c:axId val="3158253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15825344"/>
        <c:crosses val="min"/>
        <c:crossBetween val="between"/>
        <c:majorUnit val="100"/>
      </c:valAx>
      <c:valAx>
        <c:axId val="2"/>
        <c:scaling>
          <c:orientation val="minMax"/>
          <c:max val="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15825344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809376609994853E-2"/>
          <c:y val="5.9011164274322167E-2"/>
          <c:w val="0.88304997424008247"/>
          <c:h val="0.8915470494417863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141945773524720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3AB9-4F5B-A84F-D9FC65478073}"/>
                </c:ext>
              </c:extLst>
            </c:dLbl>
            <c:dLbl>
              <c:idx val="1"/>
              <c:layout>
                <c:manualLayout>
                  <c:x val="0"/>
                  <c:y val="-0.4752791068580542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3AB9-4F5B-A84F-D9FC65478073}"/>
                </c:ext>
              </c:extLst>
            </c:dLbl>
            <c:dLbl>
              <c:idx val="2"/>
              <c:layout>
                <c:manualLayout>
                  <c:x val="0"/>
                  <c:y val="-0.392344497607655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3AB9-4F5B-A84F-D9FC65478073}"/>
                </c:ext>
              </c:extLst>
            </c:dLbl>
            <c:dLbl>
              <c:idx val="4"/>
              <c:layout>
                <c:manualLayout>
                  <c:x val="0"/>
                  <c:y val="-0.141945773524720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3AB9-4F5B-A84F-D9FC65478073}"/>
                </c:ext>
              </c:extLst>
            </c:dLbl>
            <c:dLbl>
              <c:idx val="5"/>
              <c:layout>
                <c:manualLayout>
                  <c:x val="0"/>
                  <c:y val="-0.1977671451355661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3AB9-4F5B-A84F-D9FC6547807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238</c:v>
                </c:pt>
                <c:pt idx="1">
                  <c:v>382</c:v>
                </c:pt>
                <c:pt idx="2">
                  <c:v>308</c:v>
                </c:pt>
                <c:pt idx="3">
                  <c:v>240</c:v>
                </c:pt>
                <c:pt idx="4">
                  <c:v>83</c:v>
                </c:pt>
                <c:pt idx="5">
                  <c:v>1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AB9-4F5B-A84F-D9FC654780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20014336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6.299840510366826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3AB9-4F5B-A84F-D9FC65478073}"/>
                </c:ext>
              </c:extLst>
            </c:dLbl>
            <c:dLbl>
              <c:idx val="1"/>
              <c:layout>
                <c:manualLayout>
                  <c:x val="0"/>
                  <c:y val="-6.299840510366826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3AB9-4F5B-A84F-D9FC65478073}"/>
                </c:ext>
              </c:extLst>
            </c:dLbl>
            <c:dLbl>
              <c:idx val="2"/>
              <c:layout>
                <c:manualLayout>
                  <c:x val="0"/>
                  <c:y val="-6.299840510366826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3AB9-4F5B-A84F-D9FC65478073}"/>
                </c:ext>
              </c:extLst>
            </c:dLbl>
            <c:dLbl>
              <c:idx val="3"/>
              <c:layout>
                <c:manualLayout>
                  <c:x val="0"/>
                  <c:y val="-6.299840510366826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3AB9-4F5B-A84F-D9FC65478073}"/>
                </c:ext>
              </c:extLst>
            </c:dLbl>
            <c:dLbl>
              <c:idx val="4"/>
              <c:layout>
                <c:manualLayout>
                  <c:x val="0"/>
                  <c:y val="-6.299840510366826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3AB9-4F5B-A84F-D9FC65478073}"/>
                </c:ext>
              </c:extLst>
            </c:dLbl>
            <c:dLbl>
              <c:idx val="5"/>
              <c:layout>
                <c:manualLayout>
                  <c:x val="0"/>
                  <c:y val="-6.299840510366826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3AB9-4F5B-A84F-D9FC6547807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3.7</c:v>
                </c:pt>
                <c:pt idx="1">
                  <c:v>3.3</c:v>
                </c:pt>
                <c:pt idx="2">
                  <c:v>3.2</c:v>
                </c:pt>
                <c:pt idx="3">
                  <c:v>3.2</c:v>
                </c:pt>
                <c:pt idx="4">
                  <c:v>3.4</c:v>
                </c:pt>
                <c:pt idx="5">
                  <c:v>3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3AB9-4F5B-A84F-D9FC654780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20014336"/>
        <c:axId val="2"/>
      </c:lineChart>
      <c:catAx>
        <c:axId val="3200143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20014336"/>
        <c:crosses val="min"/>
        <c:crossBetween val="between"/>
        <c:majorUnit val="50"/>
      </c:valAx>
      <c:valAx>
        <c:axId val="2"/>
        <c:scaling>
          <c:orientation val="minMax"/>
          <c:max val="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20014336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302746148693901E-2"/>
          <c:y val="0.13339382940108893"/>
          <c:w val="0.92739450770261211"/>
          <c:h val="0.8103448275862068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5136116152450090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8154-4D49-8B2B-713C63542031}"/>
                </c:ext>
              </c:extLst>
            </c:dLbl>
            <c:dLbl>
              <c:idx val="1"/>
              <c:layout>
                <c:manualLayout>
                  <c:x val="0"/>
                  <c:y val="-0.1343012704174228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8154-4D49-8B2B-713C63542031}"/>
                </c:ext>
              </c:extLst>
            </c:dLbl>
            <c:dLbl>
              <c:idx val="2"/>
              <c:layout>
                <c:manualLayout>
                  <c:x val="0"/>
                  <c:y val="-0.2368421052631578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8154-4D49-8B2B-713C63542031}"/>
                </c:ext>
              </c:extLst>
            </c:dLbl>
            <c:dLbl>
              <c:idx val="3"/>
              <c:layout>
                <c:manualLayout>
                  <c:x val="0"/>
                  <c:y val="-0.1215970961887477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8154-4D49-8B2B-713C63542031}"/>
                </c:ext>
              </c:extLst>
            </c:dLbl>
            <c:dLbl>
              <c:idx val="4"/>
              <c:layout>
                <c:manualLayout>
                  <c:x val="0"/>
                  <c:y val="-0.108892921960072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8154-4D49-8B2B-713C63542031}"/>
                </c:ext>
              </c:extLst>
            </c:dLbl>
            <c:dLbl>
              <c:idx val="5"/>
              <c:layout>
                <c:manualLayout>
                  <c:x val="0"/>
                  <c:y val="-0.104355716878402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8154-4D49-8B2B-713C63542031}"/>
                </c:ext>
              </c:extLst>
            </c:dLbl>
            <c:dLbl>
              <c:idx val="6"/>
              <c:layout>
                <c:manualLayout>
                  <c:x val="0"/>
                  <c:y val="-0.104355716878402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8154-4D49-8B2B-713C63542031}"/>
                </c:ext>
              </c:extLst>
            </c:dLbl>
            <c:dLbl>
              <c:idx val="7"/>
              <c:layout>
                <c:manualLayout>
                  <c:x val="0"/>
                  <c:y val="-0.1016333938294010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8154-4D49-8B2B-713C63542031}"/>
                </c:ext>
              </c:extLst>
            </c:dLbl>
            <c:dLbl>
              <c:idx val="8"/>
              <c:layout>
                <c:manualLayout>
                  <c:x val="0"/>
                  <c:y val="-9.891107078039927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8154-4D49-8B2B-713C63542031}"/>
                </c:ext>
              </c:extLst>
            </c:dLbl>
            <c:dLbl>
              <c:idx val="9"/>
              <c:layout>
                <c:manualLayout>
                  <c:x val="0"/>
                  <c:y val="-8.802177858439201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8154-4D49-8B2B-713C63542031}"/>
                </c:ext>
              </c:extLst>
            </c:dLbl>
            <c:dLbl>
              <c:idx val="10"/>
              <c:layout>
                <c:manualLayout>
                  <c:x val="0"/>
                  <c:y val="-8.52994555353902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8154-4D49-8B2B-713C63542031}"/>
                </c:ext>
              </c:extLst>
            </c:dLbl>
            <c:dLbl>
              <c:idx val="11"/>
              <c:layout>
                <c:manualLayout>
                  <c:x val="0"/>
                  <c:y val="-8.52994555353902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8154-4D49-8B2B-713C63542031}"/>
                </c:ext>
              </c:extLst>
            </c:dLbl>
            <c:dLbl>
              <c:idx val="12"/>
              <c:layout>
                <c:manualLayout>
                  <c:x val="0"/>
                  <c:y val="-8.348457350272232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C-8154-4D49-8B2B-713C63542031}"/>
                </c:ext>
              </c:extLst>
            </c:dLbl>
            <c:dLbl>
              <c:idx val="13"/>
              <c:layout>
                <c:manualLayout>
                  <c:x val="0"/>
                  <c:y val="-8.076225045372051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D-8154-4D49-8B2B-713C63542031}"/>
                </c:ext>
              </c:extLst>
            </c:dLbl>
            <c:dLbl>
              <c:idx val="14"/>
              <c:layout>
                <c:manualLayout>
                  <c:x val="0"/>
                  <c:y val="-7.53176043557168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E-8154-4D49-8B2B-713C63542031}"/>
                </c:ext>
              </c:extLst>
            </c:dLbl>
            <c:dLbl>
              <c:idx val="15"/>
              <c:layout>
                <c:manualLayout>
                  <c:x val="0"/>
                  <c:y val="-7.53176043557168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F-8154-4D49-8B2B-713C63542031}"/>
                </c:ext>
              </c:extLst>
            </c:dLbl>
            <c:dLbl>
              <c:idx val="16"/>
              <c:layout>
                <c:manualLayout>
                  <c:x val="0"/>
                  <c:y val="-7.53176043557168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0-8154-4D49-8B2B-713C63542031}"/>
                </c:ext>
              </c:extLst>
            </c:dLbl>
            <c:dLbl>
              <c:idx val="17"/>
              <c:layout>
                <c:manualLayout>
                  <c:x val="0"/>
                  <c:y val="-7.53176043557168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1-8154-4D49-8B2B-713C63542031}"/>
                </c:ext>
              </c:extLst>
            </c:dLbl>
            <c:dLbl>
              <c:idx val="18"/>
              <c:layout>
                <c:manualLayout>
                  <c:x val="0"/>
                  <c:y val="-7.350272232304899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2-8154-4D49-8B2B-713C63542031}"/>
                </c:ext>
              </c:extLst>
            </c:dLbl>
            <c:dLbl>
              <c:idx val="19"/>
              <c:layout>
                <c:manualLayout>
                  <c:x val="0"/>
                  <c:y val="-7.078039927404718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3-8154-4D49-8B2B-713C6354203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T$1</c:f>
              <c:numCache>
                <c:formatCode>General</c:formatCode>
                <c:ptCount val="20"/>
                <c:pt idx="0">
                  <c:v>323</c:v>
                </c:pt>
                <c:pt idx="1">
                  <c:v>67</c:v>
                </c:pt>
                <c:pt idx="2">
                  <c:v>58</c:v>
                </c:pt>
                <c:pt idx="3">
                  <c:v>57</c:v>
                </c:pt>
                <c:pt idx="4">
                  <c:v>46</c:v>
                </c:pt>
                <c:pt idx="5">
                  <c:v>42</c:v>
                </c:pt>
                <c:pt idx="6">
                  <c:v>41</c:v>
                </c:pt>
                <c:pt idx="7">
                  <c:v>39</c:v>
                </c:pt>
                <c:pt idx="8">
                  <c:v>37</c:v>
                </c:pt>
                <c:pt idx="9">
                  <c:v>28</c:v>
                </c:pt>
                <c:pt idx="10">
                  <c:v>25</c:v>
                </c:pt>
                <c:pt idx="11">
                  <c:v>25</c:v>
                </c:pt>
                <c:pt idx="12">
                  <c:v>24</c:v>
                </c:pt>
                <c:pt idx="13">
                  <c:v>21</c:v>
                </c:pt>
                <c:pt idx="14">
                  <c:v>17</c:v>
                </c:pt>
                <c:pt idx="15">
                  <c:v>16</c:v>
                </c:pt>
                <c:pt idx="16">
                  <c:v>17</c:v>
                </c:pt>
                <c:pt idx="17">
                  <c:v>16</c:v>
                </c:pt>
                <c:pt idx="18">
                  <c:v>15</c:v>
                </c:pt>
                <c:pt idx="19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8154-4D49-8B2B-713C635420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45338224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5-8154-4D49-8B2B-713C63542031}"/>
                </c:ext>
              </c:extLst>
            </c:dLbl>
            <c:dLbl>
              <c:idx val="1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6-8154-4D49-8B2B-713C63542031}"/>
                </c:ext>
              </c:extLst>
            </c:dLbl>
            <c:dLbl>
              <c:idx val="3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7-8154-4D49-8B2B-713C63542031}"/>
                </c:ext>
              </c:extLst>
            </c:dLbl>
            <c:dLbl>
              <c:idx val="5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8-8154-4D49-8B2B-713C63542031}"/>
                </c:ext>
              </c:extLst>
            </c:dLbl>
            <c:dLbl>
              <c:idx val="6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9-8154-4D49-8B2B-713C63542031}"/>
                </c:ext>
              </c:extLst>
            </c:dLbl>
            <c:dLbl>
              <c:idx val="8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A-8154-4D49-8B2B-713C63542031}"/>
                </c:ext>
              </c:extLst>
            </c:dLbl>
            <c:dLbl>
              <c:idx val="10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B-8154-4D49-8B2B-713C63542031}"/>
                </c:ext>
              </c:extLst>
            </c:dLbl>
            <c:dLbl>
              <c:idx val="11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C-8154-4D49-8B2B-713C63542031}"/>
                </c:ext>
              </c:extLst>
            </c:dLbl>
            <c:dLbl>
              <c:idx val="12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D-8154-4D49-8B2B-713C63542031}"/>
                </c:ext>
              </c:extLst>
            </c:dLbl>
            <c:dLbl>
              <c:idx val="13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E-8154-4D49-8B2B-713C63542031}"/>
                </c:ext>
              </c:extLst>
            </c:dLbl>
            <c:dLbl>
              <c:idx val="14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F-8154-4D49-8B2B-713C63542031}"/>
                </c:ext>
              </c:extLst>
            </c:dLbl>
            <c:dLbl>
              <c:idx val="15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0-8154-4D49-8B2B-713C63542031}"/>
                </c:ext>
              </c:extLst>
            </c:dLbl>
            <c:dLbl>
              <c:idx val="16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1-8154-4D49-8B2B-713C63542031}"/>
                </c:ext>
              </c:extLst>
            </c:dLbl>
            <c:dLbl>
              <c:idx val="17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2-8154-4D49-8B2B-713C63542031}"/>
                </c:ext>
              </c:extLst>
            </c:dLbl>
            <c:dLbl>
              <c:idx val="18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3-8154-4D49-8B2B-713C63542031}"/>
                </c:ext>
              </c:extLst>
            </c:dLbl>
            <c:dLbl>
              <c:idx val="19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4-8154-4D49-8B2B-713C6354203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T$2</c:f>
              <c:numCache>
                <c:formatCode>General</c:formatCode>
                <c:ptCount val="20"/>
                <c:pt idx="0">
                  <c:v>91</c:v>
                </c:pt>
                <c:pt idx="1">
                  <c:v>75</c:v>
                </c:pt>
                <c:pt idx="2">
                  <c:v>19</c:v>
                </c:pt>
                <c:pt idx="3">
                  <c:v>38</c:v>
                </c:pt>
                <c:pt idx="4">
                  <c:v>54</c:v>
                </c:pt>
                <c:pt idx="5">
                  <c:v>78</c:v>
                </c:pt>
                <c:pt idx="6">
                  <c:v>83</c:v>
                </c:pt>
                <c:pt idx="7">
                  <c:v>34</c:v>
                </c:pt>
                <c:pt idx="8">
                  <c:v>79</c:v>
                </c:pt>
                <c:pt idx="9">
                  <c:v>29</c:v>
                </c:pt>
                <c:pt idx="10">
                  <c:v>50</c:v>
                </c:pt>
                <c:pt idx="11">
                  <c:v>61</c:v>
                </c:pt>
                <c:pt idx="12">
                  <c:v>76</c:v>
                </c:pt>
                <c:pt idx="13">
                  <c:v>60</c:v>
                </c:pt>
                <c:pt idx="14">
                  <c:v>71</c:v>
                </c:pt>
                <c:pt idx="15">
                  <c:v>52</c:v>
                </c:pt>
                <c:pt idx="16">
                  <c:v>65</c:v>
                </c:pt>
                <c:pt idx="17">
                  <c:v>50</c:v>
                </c:pt>
                <c:pt idx="18">
                  <c:v>53</c:v>
                </c:pt>
                <c:pt idx="19">
                  <c:v>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5-8154-4D49-8B2B-713C635420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5338224"/>
        <c:axId val="2"/>
      </c:lineChart>
      <c:catAx>
        <c:axId val="2453382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245338224"/>
        <c:crosses val="min"/>
        <c:crossBetween val="between"/>
        <c:majorUnit val="50"/>
      </c:valAx>
      <c:valAx>
        <c:axId val="2"/>
        <c:scaling>
          <c:orientation val="minMax"/>
          <c:max val="1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245338224"/>
        <c:crosses val="max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877862595419848E-2"/>
          <c:y val="9.9526066350710901E-2"/>
          <c:w val="0.96824427480916031"/>
          <c:h val="0.8511848341232227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7582938388625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3EC7-43B7-B5F3-6E041D1FD291}"/>
                </c:ext>
              </c:extLst>
            </c:dLbl>
            <c:dLbl>
              <c:idx val="1"/>
              <c:layout>
                <c:manualLayout>
                  <c:x val="0"/>
                  <c:y val="-0.1289099526066350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3EC7-43B7-B5F3-6E041D1FD291}"/>
                </c:ext>
              </c:extLst>
            </c:dLbl>
            <c:dLbl>
              <c:idx val="2"/>
              <c:layout>
                <c:manualLayout>
                  <c:x val="0"/>
                  <c:y val="-0.1241706161137440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3EC7-43B7-B5F3-6E041D1FD291}"/>
                </c:ext>
              </c:extLst>
            </c:dLbl>
            <c:dLbl>
              <c:idx val="3"/>
              <c:layout>
                <c:manualLayout>
                  <c:x val="0"/>
                  <c:y val="-0.1232227488151658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3EC7-43B7-B5F3-6E041D1FD291}"/>
                </c:ext>
              </c:extLst>
            </c:dLbl>
            <c:dLbl>
              <c:idx val="4"/>
              <c:layout>
                <c:manualLayout>
                  <c:x val="0"/>
                  <c:y val="-0.1184834123222748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3EC7-43B7-B5F3-6E041D1FD291}"/>
                </c:ext>
              </c:extLst>
            </c:dLbl>
            <c:dLbl>
              <c:idx val="5"/>
              <c:layout>
                <c:manualLayout>
                  <c:x val="0"/>
                  <c:y val="-0.102369668246445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3EC7-43B7-B5F3-6E041D1FD291}"/>
                </c:ext>
              </c:extLst>
            </c:dLbl>
            <c:dLbl>
              <c:idx val="6"/>
              <c:layout>
                <c:manualLayout>
                  <c:x val="0"/>
                  <c:y val="-0.102369668246445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3EC7-43B7-B5F3-6E041D1FD291}"/>
                </c:ext>
              </c:extLst>
            </c:dLbl>
            <c:dLbl>
              <c:idx val="7"/>
              <c:layout>
                <c:manualLayout>
                  <c:x val="0"/>
                  <c:y val="-0.101421800947867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3EC7-43B7-B5F3-6E041D1FD291}"/>
                </c:ext>
              </c:extLst>
            </c:dLbl>
            <c:dLbl>
              <c:idx val="8"/>
              <c:layout>
                <c:manualLayout>
                  <c:x val="0"/>
                  <c:y val="-0.101421800947867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3EC7-43B7-B5F3-6E041D1FD291}"/>
                </c:ext>
              </c:extLst>
            </c:dLbl>
            <c:dLbl>
              <c:idx val="9"/>
              <c:layout>
                <c:manualLayout>
                  <c:x val="0"/>
                  <c:y val="-9.857819905213270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3EC7-43B7-B5F3-6E041D1FD291}"/>
                </c:ext>
              </c:extLst>
            </c:dLbl>
            <c:dLbl>
              <c:idx val="10"/>
              <c:layout>
                <c:manualLayout>
                  <c:x val="0"/>
                  <c:y val="-9.573459715639810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3EC7-43B7-B5F3-6E041D1FD291}"/>
                </c:ext>
              </c:extLst>
            </c:dLbl>
            <c:dLbl>
              <c:idx val="11"/>
              <c:layout>
                <c:manualLayout>
                  <c:x val="0"/>
                  <c:y val="-9.573459715639810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3EC7-43B7-B5F3-6E041D1FD291}"/>
                </c:ext>
              </c:extLst>
            </c:dLbl>
            <c:dLbl>
              <c:idx val="12"/>
              <c:layout>
                <c:manualLayout>
                  <c:x val="0"/>
                  <c:y val="-9.573459715639810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C-3EC7-43B7-B5F3-6E041D1FD291}"/>
                </c:ext>
              </c:extLst>
            </c:dLbl>
            <c:dLbl>
              <c:idx val="13"/>
              <c:layout>
                <c:manualLayout>
                  <c:x val="0"/>
                  <c:y val="-9.383886255924170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D-3EC7-43B7-B5F3-6E041D1FD291}"/>
                </c:ext>
              </c:extLst>
            </c:dLbl>
            <c:dLbl>
              <c:idx val="14"/>
              <c:layout>
                <c:manualLayout>
                  <c:x val="0"/>
                  <c:y val="-9.099526066350710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E-3EC7-43B7-B5F3-6E041D1FD291}"/>
                </c:ext>
              </c:extLst>
            </c:dLbl>
            <c:dLbl>
              <c:idx val="15"/>
              <c:layout>
                <c:manualLayout>
                  <c:x val="0"/>
                  <c:y val="-8.151658767772511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F-3EC7-43B7-B5F3-6E041D1FD291}"/>
                </c:ext>
              </c:extLst>
            </c:dLbl>
            <c:dLbl>
              <c:idx val="16"/>
              <c:layout>
                <c:manualLayout>
                  <c:x val="0"/>
                  <c:y val="-8.056872037914691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0-3EC7-43B7-B5F3-6E041D1FD291}"/>
                </c:ext>
              </c:extLst>
            </c:dLbl>
            <c:dLbl>
              <c:idx val="17"/>
              <c:layout>
                <c:manualLayout>
                  <c:x val="0"/>
                  <c:y val="-7.86729857819905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1-3EC7-43B7-B5F3-6E041D1FD291}"/>
                </c:ext>
              </c:extLst>
            </c:dLbl>
            <c:dLbl>
              <c:idx val="18"/>
              <c:layout>
                <c:manualLayout>
                  <c:x val="0"/>
                  <c:y val="-7.86729857819905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2-3EC7-43B7-B5F3-6E041D1FD291}"/>
                </c:ext>
              </c:extLst>
            </c:dLbl>
            <c:dLbl>
              <c:idx val="19"/>
              <c:layout>
                <c:manualLayout>
                  <c:x val="0"/>
                  <c:y val="-7.77251184834123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3-3EC7-43B7-B5F3-6E041D1FD29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T$1</c:f>
              <c:numCache>
                <c:formatCode>General</c:formatCode>
                <c:ptCount val="20"/>
                <c:pt idx="0">
                  <c:v>294</c:v>
                </c:pt>
                <c:pt idx="1">
                  <c:v>54</c:v>
                </c:pt>
                <c:pt idx="2">
                  <c:v>51</c:v>
                </c:pt>
                <c:pt idx="3">
                  <c:v>50</c:v>
                </c:pt>
                <c:pt idx="4">
                  <c:v>47</c:v>
                </c:pt>
                <c:pt idx="5">
                  <c:v>36</c:v>
                </c:pt>
                <c:pt idx="6">
                  <c:v>36</c:v>
                </c:pt>
                <c:pt idx="7">
                  <c:v>35</c:v>
                </c:pt>
                <c:pt idx="8">
                  <c:v>35</c:v>
                </c:pt>
                <c:pt idx="9">
                  <c:v>33</c:v>
                </c:pt>
                <c:pt idx="10">
                  <c:v>31</c:v>
                </c:pt>
                <c:pt idx="11">
                  <c:v>31</c:v>
                </c:pt>
                <c:pt idx="12">
                  <c:v>31</c:v>
                </c:pt>
                <c:pt idx="13">
                  <c:v>30</c:v>
                </c:pt>
                <c:pt idx="14">
                  <c:v>28</c:v>
                </c:pt>
                <c:pt idx="15">
                  <c:v>22</c:v>
                </c:pt>
                <c:pt idx="16">
                  <c:v>21</c:v>
                </c:pt>
                <c:pt idx="17">
                  <c:v>20</c:v>
                </c:pt>
                <c:pt idx="18">
                  <c:v>20</c:v>
                </c:pt>
                <c:pt idx="19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3EC7-43B7-B5F3-6E041D1FD2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63300960"/>
        <c:axId val="1"/>
      </c:barChart>
      <c:catAx>
        <c:axId val="3633009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9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633009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877862595419848E-2"/>
          <c:y val="9.9526066350710901E-2"/>
          <c:w val="0.96824427480916031"/>
          <c:h val="0.8511848341232227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7582938388625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4368-4B46-B3AA-00D6ACDE780F}"/>
                </c:ext>
              </c:extLst>
            </c:dLbl>
            <c:dLbl>
              <c:idx val="1"/>
              <c:layout>
                <c:manualLayout>
                  <c:x val="0"/>
                  <c:y val="-0.368720379146919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4368-4B46-B3AA-00D6ACDE780F}"/>
                </c:ext>
              </c:extLst>
            </c:dLbl>
            <c:dLbl>
              <c:idx val="2"/>
              <c:layout>
                <c:manualLayout>
                  <c:x val="0"/>
                  <c:y val="-0.368720379146919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4368-4B46-B3AA-00D6ACDE780F}"/>
                </c:ext>
              </c:extLst>
            </c:dLbl>
            <c:dLbl>
              <c:idx val="3"/>
              <c:layout>
                <c:manualLayout>
                  <c:x val="0"/>
                  <c:y val="-0.3080568720379147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4368-4B46-B3AA-00D6ACDE780F}"/>
                </c:ext>
              </c:extLst>
            </c:dLbl>
            <c:dLbl>
              <c:idx val="4"/>
              <c:layout>
                <c:manualLayout>
                  <c:x val="0"/>
                  <c:y val="-0.289099526066350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4368-4B46-B3AA-00D6ACDE780F}"/>
                </c:ext>
              </c:extLst>
            </c:dLbl>
            <c:dLbl>
              <c:idx val="5"/>
              <c:layout>
                <c:manualLayout>
                  <c:x val="0"/>
                  <c:y val="-0.2805687203791469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4368-4B46-B3AA-00D6ACDE780F}"/>
                </c:ext>
              </c:extLst>
            </c:dLbl>
            <c:dLbl>
              <c:idx val="6"/>
              <c:layout>
                <c:manualLayout>
                  <c:x val="0"/>
                  <c:y val="-0.263507109004739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4368-4B46-B3AA-00D6ACDE780F}"/>
                </c:ext>
              </c:extLst>
            </c:dLbl>
            <c:dLbl>
              <c:idx val="7"/>
              <c:layout>
                <c:manualLayout>
                  <c:x val="0"/>
                  <c:y val="-0.2540284360189573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4368-4B46-B3AA-00D6ACDE780F}"/>
                </c:ext>
              </c:extLst>
            </c:dLbl>
            <c:dLbl>
              <c:idx val="8"/>
              <c:layout>
                <c:manualLayout>
                  <c:x val="0"/>
                  <c:y val="-0.2454976303317535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4368-4B46-B3AA-00D6ACDE780F}"/>
                </c:ext>
              </c:extLst>
            </c:dLbl>
            <c:dLbl>
              <c:idx val="9"/>
              <c:layout>
                <c:manualLayout>
                  <c:x val="0"/>
                  <c:y val="-0.2274881516587677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4368-4B46-B3AA-00D6ACDE780F}"/>
                </c:ext>
              </c:extLst>
            </c:dLbl>
            <c:dLbl>
              <c:idx val="10"/>
              <c:layout>
                <c:manualLayout>
                  <c:x val="0"/>
                  <c:y val="-0.2274881516587677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4368-4B46-B3AA-00D6ACDE780F}"/>
                </c:ext>
              </c:extLst>
            </c:dLbl>
            <c:dLbl>
              <c:idx val="11"/>
              <c:layout>
                <c:manualLayout>
                  <c:x val="0"/>
                  <c:y val="-0.210426540284360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4368-4B46-B3AA-00D6ACDE780F}"/>
                </c:ext>
              </c:extLst>
            </c:dLbl>
            <c:dLbl>
              <c:idx val="12"/>
              <c:layout>
                <c:manualLayout>
                  <c:x val="0"/>
                  <c:y val="-0.200947867298578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C-4368-4B46-B3AA-00D6ACDE780F}"/>
                </c:ext>
              </c:extLst>
            </c:dLbl>
            <c:dLbl>
              <c:idx val="13"/>
              <c:layout>
                <c:manualLayout>
                  <c:x val="0"/>
                  <c:y val="-0.200947867298578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D-4368-4B46-B3AA-00D6ACDE780F}"/>
                </c:ext>
              </c:extLst>
            </c:dLbl>
            <c:dLbl>
              <c:idx val="14"/>
              <c:layout>
                <c:manualLayout>
                  <c:x val="0"/>
                  <c:y val="-0.200947867298578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E-4368-4B46-B3AA-00D6ACDE780F}"/>
                </c:ext>
              </c:extLst>
            </c:dLbl>
            <c:dLbl>
              <c:idx val="15"/>
              <c:layout>
                <c:manualLayout>
                  <c:x val="0"/>
                  <c:y val="-0.191469194312796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F-4368-4B46-B3AA-00D6ACDE780F}"/>
                </c:ext>
              </c:extLst>
            </c:dLbl>
            <c:dLbl>
              <c:idx val="16"/>
              <c:layout>
                <c:manualLayout>
                  <c:x val="0"/>
                  <c:y val="-0.191469194312796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0-4368-4B46-B3AA-00D6ACDE780F}"/>
                </c:ext>
              </c:extLst>
            </c:dLbl>
            <c:dLbl>
              <c:idx val="17"/>
              <c:layout>
                <c:manualLayout>
                  <c:x val="0"/>
                  <c:y val="-0.174407582938388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1-4368-4B46-B3AA-00D6ACDE780F}"/>
                </c:ext>
              </c:extLst>
            </c:dLbl>
            <c:dLbl>
              <c:idx val="18"/>
              <c:layout>
                <c:manualLayout>
                  <c:x val="0"/>
                  <c:y val="-0.174407582938388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2-4368-4B46-B3AA-00D6ACDE780F}"/>
                </c:ext>
              </c:extLst>
            </c:dLbl>
            <c:dLbl>
              <c:idx val="19"/>
              <c:layout>
                <c:manualLayout>
                  <c:x val="0"/>
                  <c:y val="-0.174407582938388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3-4368-4B46-B3AA-00D6ACDE780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T$1</c:f>
              <c:numCache>
                <c:formatCode>General</c:formatCode>
                <c:ptCount val="20"/>
                <c:pt idx="0">
                  <c:v>48</c:v>
                </c:pt>
                <c:pt idx="1">
                  <c:v>36</c:v>
                </c:pt>
                <c:pt idx="2">
                  <c:v>36</c:v>
                </c:pt>
                <c:pt idx="3">
                  <c:v>29</c:v>
                </c:pt>
                <c:pt idx="4">
                  <c:v>27</c:v>
                </c:pt>
                <c:pt idx="5">
                  <c:v>26</c:v>
                </c:pt>
                <c:pt idx="6">
                  <c:v>24</c:v>
                </c:pt>
                <c:pt idx="7">
                  <c:v>23</c:v>
                </c:pt>
                <c:pt idx="8">
                  <c:v>22</c:v>
                </c:pt>
                <c:pt idx="9">
                  <c:v>20</c:v>
                </c:pt>
                <c:pt idx="10">
                  <c:v>20</c:v>
                </c:pt>
                <c:pt idx="11">
                  <c:v>18</c:v>
                </c:pt>
                <c:pt idx="12">
                  <c:v>17</c:v>
                </c:pt>
                <c:pt idx="13">
                  <c:v>17</c:v>
                </c:pt>
                <c:pt idx="14">
                  <c:v>17</c:v>
                </c:pt>
                <c:pt idx="15">
                  <c:v>16</c:v>
                </c:pt>
                <c:pt idx="16">
                  <c:v>16</c:v>
                </c:pt>
                <c:pt idx="17">
                  <c:v>14</c:v>
                </c:pt>
                <c:pt idx="18">
                  <c:v>14</c:v>
                </c:pt>
                <c:pt idx="19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4368-4B46-B3AA-00D6ACDE78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64916624"/>
        <c:axId val="1"/>
      </c:barChart>
      <c:catAx>
        <c:axId val="3649166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649166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39767282683094E-2"/>
          <c:y val="4.3660789252728802E-2"/>
          <c:w val="0.90280629705681037"/>
          <c:h val="0.91183879093198994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F$1</c:f>
              <c:numCache>
                <c:formatCode>General</c:formatCode>
                <c:ptCount val="6"/>
                <c:pt idx="0">
                  <c:v>0.13</c:v>
                </c:pt>
                <c:pt idx="1">
                  <c:v>0.23999999999999977</c:v>
                </c:pt>
                <c:pt idx="2">
                  <c:v>0.31</c:v>
                </c:pt>
                <c:pt idx="3">
                  <c:v>0.12000000000000011</c:v>
                </c:pt>
                <c:pt idx="4">
                  <c:v>0.9700000000000002</c:v>
                </c:pt>
                <c:pt idx="5">
                  <c:v>0.179999999999999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FE8-4E93-83CB-53F329CF49B4}"/>
            </c:ext>
          </c:extLst>
        </c:ser>
        <c:ser>
          <c:idx val="1"/>
          <c:order val="1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F$2</c:f>
              <c:numCache>
                <c:formatCode>General</c:formatCode>
                <c:ptCount val="6"/>
                <c:pt idx="0">
                  <c:v>4.9999999999999822E-2</c:v>
                </c:pt>
                <c:pt idx="1">
                  <c:v>0.18999999999999995</c:v>
                </c:pt>
                <c:pt idx="2">
                  <c:v>2.0000000000000018E-2</c:v>
                </c:pt>
                <c:pt idx="3">
                  <c:v>0.14000000000000012</c:v>
                </c:pt>
                <c:pt idx="4">
                  <c:v>-0.10000000000000009</c:v>
                </c:pt>
                <c:pt idx="5">
                  <c:v>-0.240000000000000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E8-4E93-83CB-53F329CF49B4}"/>
            </c:ext>
          </c:extLst>
        </c:ser>
        <c:ser>
          <c:idx val="2"/>
          <c:order val="2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F$3</c:f>
              <c:numCache>
                <c:formatCode>General</c:formatCode>
                <c:ptCount val="6"/>
                <c:pt idx="0">
                  <c:v>0.13000000000000034</c:v>
                </c:pt>
                <c:pt idx="1">
                  <c:v>0.41999999999999993</c:v>
                </c:pt>
                <c:pt idx="2">
                  <c:v>0.37999999999999989</c:v>
                </c:pt>
                <c:pt idx="3">
                  <c:v>0.42000000000000037</c:v>
                </c:pt>
                <c:pt idx="4">
                  <c:v>0.25999999999999979</c:v>
                </c:pt>
                <c:pt idx="5">
                  <c:v>0.45999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E8-4E93-83CB-53F329CF49B4}"/>
            </c:ext>
          </c:extLst>
        </c:ser>
        <c:ser>
          <c:idx val="3"/>
          <c:order val="3"/>
          <c:spPr>
            <a:ln w="1905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F$4</c:f>
              <c:numCache>
                <c:formatCode>General</c:formatCode>
                <c:ptCount val="6"/>
                <c:pt idx="0">
                  <c:v>0.13999999999999968</c:v>
                </c:pt>
                <c:pt idx="1">
                  <c:v>0.30000000000000027</c:v>
                </c:pt>
                <c:pt idx="2">
                  <c:v>0.31000000000000005</c:v>
                </c:pt>
                <c:pt idx="3">
                  <c:v>0.13000000000000034</c:v>
                </c:pt>
                <c:pt idx="4">
                  <c:v>8.9999999999999858E-2</c:v>
                </c:pt>
                <c:pt idx="5">
                  <c:v>0.109999999999999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FE8-4E93-83CB-53F329CF49B4}"/>
            </c:ext>
          </c:extLst>
        </c:ser>
        <c:ser>
          <c:idx val="4"/>
          <c:order val="4"/>
          <c:spPr>
            <a:ln w="19050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val>
            <c:numRef>
              <c:f>Sheet1!$A$5:$F$5</c:f>
              <c:numCache>
                <c:formatCode>General</c:formatCode>
                <c:ptCount val="6"/>
                <c:pt idx="0">
                  <c:v>0.27</c:v>
                </c:pt>
                <c:pt idx="1">
                  <c:v>0.43999999999999995</c:v>
                </c:pt>
                <c:pt idx="2">
                  <c:v>0.37999999999999989</c:v>
                </c:pt>
                <c:pt idx="3">
                  <c:v>0.44000000000000039</c:v>
                </c:pt>
                <c:pt idx="4">
                  <c:v>0.48</c:v>
                </c:pt>
                <c:pt idx="5">
                  <c:v>0.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E8-4E93-83CB-53F329CF49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5058624"/>
        <c:axId val="1"/>
      </c:lineChart>
      <c:catAx>
        <c:axId val="3250586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-0.4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25058624"/>
        <c:crosses val="min"/>
        <c:crossBetween val="midCat"/>
        <c:majorUnit val="0.2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9102947458351132E-2"/>
          <c:y val="4.3660789252728802E-2"/>
          <c:w val="0.87868432293891496"/>
          <c:h val="0.91183879093198994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F$1</c:f>
              <c:numCache>
                <c:formatCode>General</c:formatCode>
                <c:ptCount val="6"/>
                <c:pt idx="0">
                  <c:v>0.52</c:v>
                </c:pt>
                <c:pt idx="1">
                  <c:v>0.68000000000000016</c:v>
                </c:pt>
                <c:pt idx="2">
                  <c:v>0.5299999999999998</c:v>
                </c:pt>
                <c:pt idx="3">
                  <c:v>0.14000000000000012</c:v>
                </c:pt>
                <c:pt idx="4">
                  <c:v>0.87999999999999989</c:v>
                </c:pt>
                <c:pt idx="5">
                  <c:v>0.260000000000000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2D1-41A3-9FDF-CD1BCDF2FDDC}"/>
            </c:ext>
          </c:extLst>
        </c:ser>
        <c:ser>
          <c:idx val="1"/>
          <c:order val="1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F$2</c:f>
              <c:numCache>
                <c:formatCode>General</c:formatCode>
                <c:ptCount val="6"/>
                <c:pt idx="0">
                  <c:v>0.18999999999999995</c:v>
                </c:pt>
                <c:pt idx="1">
                  <c:v>0.29000000000000004</c:v>
                </c:pt>
                <c:pt idx="2">
                  <c:v>0.10999999999999988</c:v>
                </c:pt>
                <c:pt idx="3">
                  <c:v>4.0000000000000036E-2</c:v>
                </c:pt>
                <c:pt idx="4">
                  <c:v>6.999999999999984E-2</c:v>
                </c:pt>
                <c:pt idx="5">
                  <c:v>-2.000000000000001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2D1-41A3-9FDF-CD1BCDF2FDDC}"/>
            </c:ext>
          </c:extLst>
        </c:ser>
        <c:ser>
          <c:idx val="2"/>
          <c:order val="2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F$3</c:f>
              <c:numCache>
                <c:formatCode>General</c:formatCode>
                <c:ptCount val="6"/>
                <c:pt idx="0">
                  <c:v>0.68000000000000016</c:v>
                </c:pt>
                <c:pt idx="1">
                  <c:v>0.90000000000000036</c:v>
                </c:pt>
                <c:pt idx="2">
                  <c:v>0.60000000000000009</c:v>
                </c:pt>
                <c:pt idx="3">
                  <c:v>0.43999999999999995</c:v>
                </c:pt>
                <c:pt idx="4">
                  <c:v>0.31000000000000005</c:v>
                </c:pt>
                <c:pt idx="5">
                  <c:v>0.510000000000000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2D1-41A3-9FDF-CD1BCDF2FDDC}"/>
            </c:ext>
          </c:extLst>
        </c:ser>
        <c:ser>
          <c:idx val="3"/>
          <c:order val="3"/>
          <c:spPr>
            <a:ln w="1905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F$4</c:f>
              <c:numCache>
                <c:formatCode>General</c:formatCode>
                <c:ptCount val="6"/>
                <c:pt idx="0">
                  <c:v>0.26000000000000023</c:v>
                </c:pt>
                <c:pt idx="1">
                  <c:v>0.51000000000000023</c:v>
                </c:pt>
                <c:pt idx="2">
                  <c:v>0.60000000000000009</c:v>
                </c:pt>
                <c:pt idx="3">
                  <c:v>0.35999999999999988</c:v>
                </c:pt>
                <c:pt idx="4">
                  <c:v>0.31999999999999984</c:v>
                </c:pt>
                <c:pt idx="5">
                  <c:v>0.319999999999999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2D1-41A3-9FDF-CD1BCDF2FDDC}"/>
            </c:ext>
          </c:extLst>
        </c:ser>
        <c:ser>
          <c:idx val="4"/>
          <c:order val="4"/>
          <c:spPr>
            <a:ln w="19050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val>
            <c:numRef>
              <c:f>Sheet1!$A$5:$F$5</c:f>
              <c:numCache>
                <c:formatCode>General</c:formatCode>
                <c:ptCount val="6"/>
                <c:pt idx="0">
                  <c:v>0.79</c:v>
                </c:pt>
                <c:pt idx="1">
                  <c:v>0.82000000000000028</c:v>
                </c:pt>
                <c:pt idx="2">
                  <c:v>0.6599999999999997</c:v>
                </c:pt>
                <c:pt idx="3">
                  <c:v>0.33999999999999986</c:v>
                </c:pt>
                <c:pt idx="4">
                  <c:v>0.69</c:v>
                </c:pt>
                <c:pt idx="5">
                  <c:v>0.600000000000000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2D1-41A3-9FDF-CD1BCDF2FD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21959984"/>
        <c:axId val="1"/>
      </c:lineChart>
      <c:catAx>
        <c:axId val="2219599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0.9"/>
          <c:min val="-0.1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221959984"/>
        <c:crosses val="min"/>
        <c:crossBetween val="midCat"/>
        <c:majorUnit val="0.1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9102947458351132E-2"/>
          <c:y val="4.6553267681289166E-2"/>
          <c:w val="0.87868432293891496"/>
          <c:h val="0.90599820948970455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F$1</c:f>
              <c:numCache>
                <c:formatCode>General</c:formatCode>
                <c:ptCount val="6"/>
                <c:pt idx="0">
                  <c:v>-0.34999999999999964</c:v>
                </c:pt>
                <c:pt idx="1">
                  <c:v>-0.17999999999999972</c:v>
                </c:pt>
                <c:pt idx="2">
                  <c:v>5.0000000000000266E-2</c:v>
                </c:pt>
                <c:pt idx="3">
                  <c:v>-6.0000000000000053E-2</c:v>
                </c:pt>
                <c:pt idx="4">
                  <c:v>0.91999999999999993</c:v>
                </c:pt>
                <c:pt idx="5">
                  <c:v>-0.859999999999999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91A-46CF-ACDB-2A7E4C5389BD}"/>
            </c:ext>
          </c:extLst>
        </c:ser>
        <c:ser>
          <c:idx val="1"/>
          <c:order val="1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F$2</c:f>
              <c:numCache>
                <c:formatCode>General</c:formatCode>
                <c:ptCount val="6"/>
                <c:pt idx="0">
                  <c:v>-0.27</c:v>
                </c:pt>
                <c:pt idx="1">
                  <c:v>4.9999999999999822E-2</c:v>
                </c:pt>
                <c:pt idx="2">
                  <c:v>-8.0000000000000071E-2</c:v>
                </c:pt>
                <c:pt idx="3">
                  <c:v>0</c:v>
                </c:pt>
                <c:pt idx="4">
                  <c:v>-1.33</c:v>
                </c:pt>
                <c:pt idx="5">
                  <c:v>-2.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91A-46CF-ACDB-2A7E4C5389BD}"/>
            </c:ext>
          </c:extLst>
        </c:ser>
        <c:ser>
          <c:idx val="2"/>
          <c:order val="2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F$3</c:f>
              <c:numCache>
                <c:formatCode>General</c:formatCode>
                <c:ptCount val="6"/>
                <c:pt idx="0">
                  <c:v>-0.64000000000000012</c:v>
                </c:pt>
                <c:pt idx="1">
                  <c:v>-6.999999999999984E-2</c:v>
                </c:pt>
                <c:pt idx="2">
                  <c:v>0.12000000000000011</c:v>
                </c:pt>
                <c:pt idx="3">
                  <c:v>2.0000000000000018E-2</c:v>
                </c:pt>
                <c:pt idx="4">
                  <c:v>-0.18000000000000016</c:v>
                </c:pt>
                <c:pt idx="5">
                  <c:v>0.140000000000000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91A-46CF-ACDB-2A7E4C5389BD}"/>
            </c:ext>
          </c:extLst>
        </c:ser>
        <c:ser>
          <c:idx val="3"/>
          <c:order val="3"/>
          <c:spPr>
            <a:ln w="1905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F$4</c:f>
              <c:numCache>
                <c:formatCode>General</c:formatCode>
                <c:ptCount val="6"/>
                <c:pt idx="0">
                  <c:v>-0.11000000000000032</c:v>
                </c:pt>
                <c:pt idx="1">
                  <c:v>6.999999999999984E-2</c:v>
                </c:pt>
                <c:pt idx="2">
                  <c:v>1.0000000000000231E-2</c:v>
                </c:pt>
                <c:pt idx="3">
                  <c:v>-2.9999999999999805E-2</c:v>
                </c:pt>
                <c:pt idx="4">
                  <c:v>-0.7200000000000002</c:v>
                </c:pt>
                <c:pt idx="5">
                  <c:v>-0.859999999999999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91A-46CF-ACDB-2A7E4C5389BD}"/>
            </c:ext>
          </c:extLst>
        </c:ser>
        <c:ser>
          <c:idx val="4"/>
          <c:order val="4"/>
          <c:spPr>
            <a:ln w="19050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val>
            <c:numRef>
              <c:f>Sheet1!$A$5:$F$5</c:f>
              <c:numCache>
                <c:formatCode>General</c:formatCode>
                <c:ptCount val="6"/>
                <c:pt idx="0">
                  <c:v>-0.49000000000000021</c:v>
                </c:pt>
                <c:pt idx="1">
                  <c:v>0</c:v>
                </c:pt>
                <c:pt idx="2">
                  <c:v>4.0000000000000036E-2</c:v>
                </c:pt>
                <c:pt idx="3">
                  <c:v>0.39999999999999991</c:v>
                </c:pt>
                <c:pt idx="4">
                  <c:v>-0.64999999999999991</c:v>
                </c:pt>
                <c:pt idx="5">
                  <c:v>-0.290000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91A-46CF-ACDB-2A7E4C5389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5058208"/>
        <c:axId val="1"/>
      </c:lineChart>
      <c:catAx>
        <c:axId val="3250582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-3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25058208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04-15T18:43:58.787" idx="2">
    <p:pos x="10" y="10"/>
    <p:text>Ithink we have to separate some of these visuals? They're hard to read in this format. Also, can we put them into ThinkCell instead?</p:text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5-17T10:19:01.208" idx="1">
    <p:pos x="10" y="10"/>
    <p:text>In Cons : Employees are talking about Analytical people has no values. Management treated them badly etc.</p:text>
    <p:extLst>
      <p:ext uri="{C676402C-5697-4E1C-873F-D02D1690AC5C}">
        <p15:threadingInfo xmlns:p15="http://schemas.microsoft.com/office/powerpoint/2012/main" timeZoneBias="-33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3257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r">
              <a:defRPr sz="1200"/>
            </a:lvl1pPr>
          </a:lstStyle>
          <a:p>
            <a:fld id="{29BA910F-06FD-1D47-98E4-2062167C1A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953257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r">
              <a:defRPr sz="1200"/>
            </a:lvl1pPr>
          </a:lstStyle>
          <a:p>
            <a:fld id="{794AC39F-CEB4-7845-82A2-92D741A20995}" type="datetimeFigureOut">
              <a:rPr lang="en-US" smtClean="0"/>
              <a:t>9/18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3388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3853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r">
              <a:defRPr sz="1200"/>
            </a:lvl1pPr>
          </a:lstStyle>
          <a:p>
            <a:fld id="{F7C8D4B3-41E5-4D01-9ECE-A2C1BAD92CC0}" type="datetimeFigureOut">
              <a:rPr lang="en-US" smtClean="0"/>
              <a:t>9/18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74613" y="1485900"/>
            <a:ext cx="7129463" cy="40116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40" tIns="46420" rIns="92840" bIns="464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024" y="5720716"/>
            <a:ext cx="5584190" cy="4680585"/>
          </a:xfrm>
          <a:prstGeom prst="rect">
            <a:avLst/>
          </a:prstGeom>
        </p:spPr>
        <p:txBody>
          <a:bodyPr vert="horz" lIns="92840" tIns="46420" rIns="92840" bIns="464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3853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r">
              <a:defRPr sz="1200"/>
            </a:lvl1pPr>
          </a:lstStyle>
          <a:p>
            <a:fld id="{A77D25D3-C290-4784-8BE1-8186D345F17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524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6.xml"/><Relationship Id="rId7" Type="http://schemas.openxmlformats.org/officeDocument/2006/relationships/image" Target="../media/image1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86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sp>
        <p:nvSpPr>
          <p:cNvPr id="38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87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866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1"/>
            <a:ext cx="11358880" cy="419099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Takeawa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46787" y="18149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49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255858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11480" y="330224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404590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1046787" y="255858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1046787" y="330224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046787" y="404590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1046787" y="478956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411480" y="478956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1046787" y="55332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aseline="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411480" y="55332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800" b="0" baseline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edit date, place or introduction / summary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/ Auth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480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6105961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105961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105961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105962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105962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3" hasCustomPrompt="1"/>
          </p:nvPr>
        </p:nvSpPr>
        <p:spPr>
          <a:xfrm>
            <a:off x="411480" y="1903422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add portrait photo or remove</a:t>
            </a:r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24" hasCustomPrompt="1"/>
          </p:nvPr>
        </p:nvSpPr>
        <p:spPr>
          <a:xfrm>
            <a:off x="6093969" y="1901254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 baseline="0"/>
            </a:lvl1pPr>
          </a:lstStyle>
          <a:p>
            <a:r>
              <a:rPr lang="en-US" dirty="0"/>
              <a:t>Click to add portrait photo or remove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71072" cy="86868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89032" y="1371600"/>
            <a:ext cx="4984377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1480" y="1371600"/>
            <a:ext cx="6012329" cy="4381500"/>
          </a:xfrm>
        </p:spPr>
        <p:txBody>
          <a:bodyPr>
            <a:normAutofit/>
          </a:bodyPr>
          <a:lstStyle>
            <a:lvl1pPr marL="0" indent="0">
              <a:buNone/>
              <a:defRPr sz="4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2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1480" y="219456"/>
            <a:ext cx="9490635" cy="5280025"/>
          </a:xfrm>
        </p:spPr>
        <p:txBody>
          <a:bodyPr tIns="0" anchor="t">
            <a:normAutofit/>
          </a:bodyPr>
          <a:lstStyle>
            <a:lvl1pPr>
              <a:defRPr sz="5400" b="1"/>
            </a:lvl1pPr>
          </a:lstStyle>
          <a:p>
            <a:r>
              <a:rPr lang="en-US" dirty="0"/>
              <a:t>Add quote and highlight key word in S&amp;P Global re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1480" y="5499480"/>
            <a:ext cx="9490635" cy="672719"/>
          </a:xfrm>
        </p:spPr>
        <p:txBody>
          <a:bodyPr wrap="square" anchor="t">
            <a:normAutofit/>
          </a:bodyPr>
          <a:lstStyle>
            <a:lvl1pPr marL="0" indent="0">
              <a:spcBef>
                <a:spcPts val="0"/>
              </a:spcBef>
              <a:buNone/>
              <a:defRPr sz="2400" i="1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ource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able +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(max 2 rows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or remove (max 2 row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1480" y="1884218"/>
            <a:ext cx="5246625" cy="3868883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and resize right as need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6543404" y="1884218"/>
            <a:ext cx="5246625" cy="3868883"/>
          </a:xfrm>
        </p:spPr>
        <p:txBody>
          <a:bodyPr>
            <a:noAutofit/>
          </a:bodyPr>
          <a:lstStyle>
            <a:lvl1pPr>
              <a:defRPr sz="1800" baseline="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or remov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1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6" hasCustomPrompt="1"/>
          </p:nvPr>
        </p:nvSpPr>
        <p:spPr>
          <a:xfrm>
            <a:off x="411480" y="2336800"/>
            <a:ext cx="11379200" cy="3416300"/>
          </a:xfrm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3931"/>
            <a:ext cx="11379200" cy="522870"/>
          </a:xfrm>
        </p:spPr>
        <p:txBody>
          <a:bodyPr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chart introduction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9" hasCustomPrompt="1"/>
          </p:nvPr>
        </p:nvSpPr>
        <p:spPr>
          <a:xfrm>
            <a:off x="411480" y="1790700"/>
            <a:ext cx="11379200" cy="3962400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to insert rectangular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382283"/>
            <a:ext cx="11379200" cy="404789"/>
          </a:xfrm>
        </p:spPr>
        <p:txBody>
          <a:bodyPr anchor="b"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mage caption 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1085850"/>
            <a:ext cx="11362267" cy="914400"/>
          </a:xfrm>
        </p:spPr>
        <p:txBody>
          <a:bodyPr/>
          <a:lstStyle>
            <a:lvl1pPr marL="0" indent="0">
              <a:buNone/>
              <a:defRPr sz="1600" baseline="0">
                <a:solidFill>
                  <a:schemeClr val="bg1">
                    <a:lumMod val="50000"/>
                  </a:schemeClr>
                </a:solidFill>
              </a:defRPr>
            </a:lvl1pPr>
            <a:lvl2pPr marL="173736" indent="0">
              <a:buNone/>
              <a:defRPr/>
            </a:lvl2pPr>
          </a:lstStyle>
          <a:p>
            <a:pPr lvl="0"/>
            <a:r>
              <a:rPr lang="en-US" dirty="0"/>
              <a:t>Click to add introduction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3"/>
          </p:nvPr>
        </p:nvSpPr>
        <p:spPr>
          <a:xfrm>
            <a:off x="411480" y="2850686"/>
            <a:ext cx="5225627" cy="29024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6547467" y="2850204"/>
            <a:ext cx="5238132" cy="29028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(max 2 rows)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or remove (max 2 rows)</a:t>
            </a:r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1" y="1371600"/>
            <a:ext cx="5676900" cy="4381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21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sp>
        <p:nvSpPr>
          <p:cNvPr id="16" name="Rectangle 15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-18443" r="-15122" b="1"/>
          <a:stretch/>
        </p:blipFill>
        <p:spPr>
          <a:xfrm>
            <a:off x="10901257" y="415041"/>
            <a:ext cx="875701" cy="9009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/>
          <p:cNvSpPr>
            <a:spLocks noGrp="1"/>
          </p:cNvSpPr>
          <p:nvPr>
            <p:ph type="chart" sz="quarter" idx="19" hasCustomPrompt="1"/>
          </p:nvPr>
        </p:nvSpPr>
        <p:spPr>
          <a:xfrm>
            <a:off x="411480" y="1790700"/>
            <a:ext cx="11362465" cy="396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28048"/>
            <a:ext cx="11358880" cy="43927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box,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7109908" cy="43815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713643" y="1371600"/>
            <a:ext cx="4076700" cy="438150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ckground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11480" y="1790700"/>
            <a:ext cx="11379200" cy="396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1480" y="1794414"/>
            <a:ext cx="4240599" cy="3958686"/>
          </a:xfrm>
        </p:spPr>
        <p:txBody>
          <a:bodyPr lIns="182880" tIns="182880" rIns="182880" bIns="182880"/>
          <a:lstStyle>
            <a:lvl1pPr>
              <a:defRPr sz="1800" baseline="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content and resize or remove placeholder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+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62944" cy="868680"/>
          </a:xfr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480" y="1805137"/>
            <a:ext cx="5486400" cy="433949"/>
          </a:xfrm>
          <a:solidFill>
            <a:schemeClr val="tx1"/>
          </a:solidFill>
        </p:spPr>
        <p:txBody>
          <a:bodyPr lIns="91440" rIns="27432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1480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03264" y="1805137"/>
            <a:ext cx="5486400" cy="433949"/>
          </a:xfrm>
          <a:solidFill>
            <a:schemeClr val="tx1"/>
          </a:solidFill>
        </p:spPr>
        <p:txBody>
          <a:bodyPr lIns="91440" rIns="18288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03264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600" b="0">
                <a:solidFill>
                  <a:schemeClr val="bg1">
                    <a:lumMod val="50000"/>
                  </a:schemeClr>
                </a:solidFill>
              </a:defRPr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ntroduction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36634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390435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71847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, resize as needed.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95941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206376"/>
            <a:ext cx="11371079" cy="5965824"/>
          </a:xfrm>
        </p:spPr>
        <p:txBody>
          <a:bodyPr tIns="0" bIns="0" anchor="t">
            <a:norm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105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5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/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1480" y="1371600"/>
            <a:ext cx="11379205" cy="4381500"/>
          </a:xfrm>
          <a:ln cap="flat">
            <a:miter lim="800000"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46682E1-A610-4FB0-BCC6-241ABE41C99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3916334" cy="561602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8635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tr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</p:spTree>
    <p:extLst>
      <p:ext uri="{BB962C8B-B14F-4D97-AF65-F5344CB8AC3E}">
        <p14:creationId xmlns:p14="http://schemas.microsoft.com/office/powerpoint/2010/main" val="10685774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275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6D6393-3187-4B9D-AE77-E81D53102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56A44A-D36D-4A79-9AF3-78B303DAAA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D3C941-574B-46E4-9269-AAF571D26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831CF6-CE1B-4CE1-AB60-6B9DCB5AA23B}" type="datetimeFigureOut">
              <a:rPr lang="en-US" smtClean="0"/>
              <a:t>9/18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4566DE-58E2-49F9-8569-E8BFBDA00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707A0B-4A6C-4385-BE9F-ACDE8B2DA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5926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84622"/>
            <a:ext cx="31751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178"/>
            <a:ext cx="31751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>
          <a:xfrm>
            <a:off x="8561918" y="1098983"/>
            <a:ext cx="3175101" cy="223277"/>
          </a:xfrm>
        </p:spPr>
        <p:txBody>
          <a:bodyPr/>
          <a:lstStyle>
            <a:lvl1pPr algn="l">
              <a:defRPr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9283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284622"/>
            <a:ext cx="31709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602219"/>
            <a:ext cx="31709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>
          <a:xfrm>
            <a:off x="8561033" y="1100213"/>
            <a:ext cx="3182235" cy="223277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446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312739"/>
            <a:ext cx="11315700" cy="4645025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36835" y="556302"/>
            <a:ext cx="6484619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836833" y="1606241"/>
            <a:ext cx="6484619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613908"/>
            <a:ext cx="2944200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934680"/>
            <a:ext cx="2944200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44" y="1291090"/>
            <a:ext cx="2954723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9158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6884265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8" y="1291179"/>
            <a:ext cx="6884265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98846"/>
            <a:ext cx="3170897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363"/>
            <a:ext cx="3170897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35" y="1100213"/>
            <a:ext cx="3182232" cy="22327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45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5676468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1291179"/>
            <a:ext cx="5676468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2797" y="298846"/>
            <a:ext cx="3170019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2797" y="1601708"/>
            <a:ext cx="3170019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918" y="1100213"/>
            <a:ext cx="3181349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138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9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529221"/>
            <a:ext cx="11338057" cy="4279005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5580279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1"/>
            <a:ext cx="11338560" cy="299011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4921042"/>
            <a:ext cx="11338560" cy="1096047"/>
          </a:xfrm>
        </p:spPr>
        <p:txBody>
          <a:bodyPr anchor="b"/>
          <a:lstStyle>
            <a:lvl1pPr>
              <a:defRPr sz="950" b="0" i="0">
                <a:latin typeface="Arial Narrow" charset="0"/>
                <a:ea typeface="Arial Narrow" charset="0"/>
                <a:cs typeface="Arial Narrow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 charset="0"/>
                <a:ea typeface="Arial Narrow" charset="0"/>
                <a:cs typeface="Arial Narrow" charset="0"/>
              </a:defRPr>
            </a:lvl2pPr>
            <a:lvl3pPr>
              <a:defRPr sz="950">
                <a:latin typeface="Arial Narrow" charset="0"/>
                <a:ea typeface="Arial Narrow" charset="0"/>
                <a:cs typeface="Arial Narrow" charset="0"/>
              </a:defRPr>
            </a:lvl3pPr>
            <a:lvl4pPr>
              <a:defRPr sz="950">
                <a:latin typeface="Arial Narrow" charset="0"/>
                <a:ea typeface="Arial Narrow" charset="0"/>
                <a:cs typeface="Arial Narrow" charset="0"/>
              </a:defRPr>
            </a:lvl4pPr>
            <a:lvl5pPr>
              <a:defRPr sz="950"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697551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5614416" cy="5614416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23134" y="1464424"/>
            <a:ext cx="6070927" cy="4339737"/>
          </a:xfrm>
        </p:spPr>
        <p:txBody>
          <a:bodyPr/>
          <a:lstStyle>
            <a:lvl1pPr>
              <a:defRPr sz="3750" b="0" i="0">
                <a:latin typeface="Arial Regular" charset="0"/>
                <a:cs typeface="Arial Regular" charset="0"/>
              </a:defRPr>
            </a:lvl1pPr>
          </a:lstStyle>
          <a:p>
            <a:pPr lvl="0"/>
            <a:r>
              <a:rPr lang="en-US" dirty="0"/>
              <a:t>This is a quote or a call-out message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7100175" y="1464423"/>
            <a:ext cx="4643093" cy="4339484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171450" indent="-171450">
              <a:buFont typeface="Arial"/>
              <a:buChar char="•"/>
              <a:defRPr sz="1000"/>
            </a:lvl2pPr>
          </a:lstStyle>
          <a:p>
            <a:pPr lvl="0"/>
            <a:r>
              <a:rPr lang="en-US" dirty="0"/>
              <a:t>Play with your available ratio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5396282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435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6214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Big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23699"/>
            <a:ext cx="9753600" cy="1201846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14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46682"/>
          </a:xfrm>
        </p:spPr>
        <p:txBody>
          <a:bodyPr lIns="0" tIns="0" rIns="0" bIns="0"/>
          <a:lstStyle>
            <a:lvl1pPr>
              <a:lnSpc>
                <a:spcPct val="95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511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98520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386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639506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714136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855797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4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27567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6404968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409200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403972"/>
            <a:ext cx="11333627" cy="583922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586835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063782"/>
            <a:ext cx="11338057" cy="4727418"/>
          </a:xfrm>
        </p:spPr>
        <p:txBody>
          <a:bodyPr/>
          <a:lstStyle>
            <a:lvl1pPr>
              <a:defRPr sz="950" b="0" i="0">
                <a:latin typeface="Arial Narrow"/>
                <a:cs typeface="Arial Narrow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/>
                <a:cs typeface="Arial Narrow"/>
              </a:defRPr>
            </a:lvl2pPr>
            <a:lvl3pPr>
              <a:defRPr sz="950">
                <a:latin typeface="Arial Narrow"/>
                <a:cs typeface="Arial Narrow"/>
              </a:defRPr>
            </a:lvl3pPr>
            <a:lvl4pPr>
              <a:defRPr sz="950">
                <a:latin typeface="Arial Narrow"/>
                <a:cs typeface="Arial Narrow"/>
              </a:defRPr>
            </a:lvl4pPr>
            <a:lvl5pPr>
              <a:defRPr sz="950">
                <a:latin typeface="Arial Narrow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82775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24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10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11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thor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427567" y="4076095"/>
            <a:ext cx="4643093" cy="1727812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0" indent="0">
              <a:buFont typeface="Arial"/>
              <a:buNone/>
              <a:defRPr sz="2000"/>
            </a:lvl2pPr>
          </a:lstStyle>
          <a:p>
            <a:pPr lvl="0"/>
            <a:r>
              <a:rPr lang="en-US" dirty="0"/>
              <a:t>Author’s Nam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25732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0"/>
            <a:ext cx="11338560" cy="4102570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5606722"/>
            <a:ext cx="11338560" cy="38529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lang="en-US" sz="950" b="0" i="0" dirty="0" smtClean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4pPr>
            <a:lvl5pPr>
              <a:defRPr lang="en-US" sz="950" b="0" i="0" dirty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0017039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565571"/>
          </a:xfrm>
        </p:spPr>
        <p:txBody>
          <a:bodyPr/>
          <a:lstStyle>
            <a:lvl1pPr>
              <a:defRPr sz="1400" b="0" i="0">
                <a:solidFill>
                  <a:srgbClr val="7F7F7F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3" y="1914528"/>
            <a:ext cx="11338984" cy="3822676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839310"/>
            <a:ext cx="11333627" cy="148584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1244485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493335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361383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9"/>
            <a:ext cx="11358880" cy="86527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371600"/>
            <a:ext cx="11367253" cy="4381500"/>
          </a:xfrm>
        </p:spPr>
        <p:txBody>
          <a:bodyPr/>
          <a:lstStyle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CA5A1-3F9E-4C52-875D-C9E4FC2B568F}" type="datetime1">
              <a:rPr lang="en-US" smtClean="0"/>
              <a:t>9/18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2287026" y="-4042"/>
            <a:ext cx="1386247" cy="31351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ntent – No subtitle</a:t>
            </a: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Level 1 has a bullet turned on –you can turn bullets off by marking the Level 1 text and unclick the bullet icon on the Home Tab. </a:t>
            </a: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To get to the next bullet level, use “Increase List level” on the Home Tab. 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bullets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7" t="5566" r="8072" b="8645"/>
          <a:stretch/>
        </p:blipFill>
        <p:spPr>
          <a:xfrm>
            <a:off x="12345151" y="1307765"/>
            <a:ext cx="277343" cy="241890"/>
          </a:xfrm>
          <a:prstGeom prst="rect">
            <a:avLst/>
          </a:prstGeom>
          <a:ln>
            <a:noFill/>
          </a:ln>
        </p:spPr>
      </p:pic>
      <p:pic>
        <p:nvPicPr>
          <p:cNvPr id="11" name="increase list level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46" t="825" r="7728" b="5818"/>
          <a:stretch/>
        </p:blipFill>
        <p:spPr>
          <a:xfrm>
            <a:off x="12342987" y="2222893"/>
            <a:ext cx="391319" cy="24189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12284311" y="3212874"/>
            <a:ext cx="1389888" cy="1233768"/>
            <a:chOff x="9215268" y="3023356"/>
            <a:chExt cx="1389888" cy="1233768"/>
          </a:xfrm>
        </p:grpSpPr>
        <p:sp>
          <p:nvSpPr>
            <p:cNvPr id="14" name="Rectangle 13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221956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 white Sli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164236"/>
            <a:ext cx="6705600" cy="1568639"/>
          </a:xfrm>
        </p:spPr>
        <p:txBody>
          <a:bodyPr tIns="0" anchor="t">
            <a:normAutofit/>
          </a:bodyPr>
          <a:lstStyle>
            <a:lvl1pPr algn="l">
              <a:defRPr sz="2700" b="1" baseline="0"/>
            </a:lvl1pPr>
          </a:lstStyle>
          <a:p>
            <a:r>
              <a:rPr lang="en-US" dirty="0"/>
              <a:t>Click to insert Presentation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1480" y="1751715"/>
            <a:ext cx="6705600" cy="57911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7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insert subtit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618069" y="1111722"/>
            <a:ext cx="3169920" cy="259884"/>
          </a:xfrm>
        </p:spPr>
        <p:txBody>
          <a:bodyPr>
            <a:noAutofit/>
          </a:bodyPr>
          <a:lstStyle>
            <a:lvl1pPr marL="0" indent="0">
              <a:buNone/>
              <a:defRPr sz="788" b="0"/>
            </a:lvl1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411480" y="2423160"/>
            <a:ext cx="11379200" cy="254203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cover imag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618071" y="152587"/>
            <a:ext cx="3169920" cy="896287"/>
          </a:xfrm>
        </p:spPr>
        <p:txBody>
          <a:bodyPr>
            <a:noAutofit/>
          </a:bodyPr>
          <a:lstStyle>
            <a:lvl1pPr marL="0" indent="0">
              <a:spcBef>
                <a:spcPts val="225"/>
              </a:spcBef>
              <a:spcAft>
                <a:spcPts val="0"/>
              </a:spcAft>
              <a:buNone/>
              <a:defRPr sz="825" b="1" baseline="0"/>
            </a:lvl1pPr>
          </a:lstStyle>
          <a:p>
            <a:pPr lvl="0"/>
            <a:r>
              <a:rPr lang="en-US" dirty="0"/>
              <a:t>Click to insert Presenter Name(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Department / Secto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2287026" y="-4043"/>
            <a:ext cx="1386247" cy="2430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ver</a:t>
            </a:r>
            <a:r>
              <a:rPr lang="en-US" sz="750" b="1" baseline="0" dirty="0">
                <a:solidFill>
                  <a:schemeClr val="tx1"/>
                </a:solidFill>
              </a:rPr>
              <a:t> + Image</a:t>
            </a:r>
          </a:p>
          <a:p>
            <a:pPr algn="l"/>
            <a:r>
              <a:rPr lang="en-US" sz="750" baseline="0" dirty="0">
                <a:solidFill>
                  <a:schemeClr val="tx1"/>
                </a:solidFill>
              </a:rPr>
              <a:t>Do not change the size of the title. Keep the title short and use the subtitle area for longer descriptions if needed. Insert rectangular image by clicking the image icon. </a:t>
            </a:r>
            <a:endParaRPr lang="en-US" sz="75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874280"/>
            <a:ext cx="12192000" cy="342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879" y="5771962"/>
            <a:ext cx="1697779" cy="372552"/>
          </a:xfrm>
          <a:prstGeom prst="rect">
            <a:avLst/>
          </a:prstGeom>
        </p:spPr>
      </p:pic>
      <p:sp>
        <p:nvSpPr>
          <p:cNvPr id="1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5781625"/>
            <a:ext cx="5689600" cy="730656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675" b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insert disclaimer paragraph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284311" y="2497574"/>
            <a:ext cx="1389888" cy="1233768"/>
            <a:chOff x="9215268" y="3023356"/>
            <a:chExt cx="1389888" cy="1233768"/>
          </a:xfrm>
        </p:grpSpPr>
        <p:sp>
          <p:nvSpPr>
            <p:cNvPr id="19" name="Rectangle 18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24965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512706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096698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452624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17" name="Rectangle 16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3916333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11176" y="415041"/>
            <a:ext cx="3916333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01752" tIns="301752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Program</a:t>
            </a:r>
          </a:p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608" y="1494183"/>
            <a:ext cx="490331" cy="49033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5614415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411176" y="415041"/>
            <a:ext cx="5614415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20040" tIns="320040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4400"/>
              </a:lnSpc>
            </a:pPr>
            <a:r>
              <a:rPr lang="en-US" sz="3500" dirty="0">
                <a:solidFill>
                  <a:schemeClr val="bg1"/>
                </a:solidFill>
              </a:rPr>
              <a:t>Program</a:t>
            </a:r>
            <a:br>
              <a:rPr lang="en-US" sz="3500" dirty="0">
                <a:solidFill>
                  <a:schemeClr val="bg1"/>
                </a:solidFill>
              </a:rPr>
            </a:br>
            <a:r>
              <a:rPr lang="en-US" sz="3500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image" Target="../media/image10.emf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image" Target="../media/image9.emf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vmlDrawing" Target="../drawings/vmlDrawing5.v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oleObject" Target="../embeddings/oleObject7.bin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tags" Target="../tags/tag11.xml"/><Relationship Id="rId8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421286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4" name="think-cell Slide" r:id="rId38" imgW="378" imgH="377" progId="TCLayout.ActiveDocument.1">
                  <p:embed/>
                </p:oleObj>
              </mc:Choice>
              <mc:Fallback>
                <p:oleObj name="think-cell Slide" r:id="rId38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865273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4528" y="1371600"/>
            <a:ext cx="11367253" cy="438150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9323" y="6508030"/>
            <a:ext cx="902677" cy="34996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lang="uk-UA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custDataLst>
      <p:tags r:id="rId35"/>
    </p:custDataLst>
    <p:extLst>
      <p:ext uri="{BB962C8B-B14F-4D97-AF65-F5344CB8AC3E}">
        <p14:creationId xmlns:p14="http://schemas.microsoft.com/office/powerpoint/2010/main" val="2520563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3" r:id="rId1"/>
    <p:sldLayoutId id="2147484254" r:id="rId2"/>
    <p:sldLayoutId id="2147484255" r:id="rId3"/>
    <p:sldLayoutId id="2147484256" r:id="rId4"/>
    <p:sldLayoutId id="2147484257" r:id="rId5"/>
    <p:sldLayoutId id="2147484258" r:id="rId6"/>
    <p:sldLayoutId id="2147484259" r:id="rId7"/>
    <p:sldLayoutId id="2147484260" r:id="rId8"/>
    <p:sldLayoutId id="2147484261" r:id="rId9"/>
    <p:sldLayoutId id="2147484262" r:id="rId10"/>
    <p:sldLayoutId id="2147484263" r:id="rId11"/>
    <p:sldLayoutId id="2147484264" r:id="rId12"/>
    <p:sldLayoutId id="2147484265" r:id="rId13"/>
    <p:sldLayoutId id="2147484266" r:id="rId14"/>
    <p:sldLayoutId id="2147484267" r:id="rId15"/>
    <p:sldLayoutId id="2147484268" r:id="rId16"/>
    <p:sldLayoutId id="2147484269" r:id="rId17"/>
    <p:sldLayoutId id="2147484270" r:id="rId18"/>
    <p:sldLayoutId id="2147484271" r:id="rId19"/>
    <p:sldLayoutId id="2147484272" r:id="rId20"/>
    <p:sldLayoutId id="2147484273" r:id="rId21"/>
    <p:sldLayoutId id="2147484274" r:id="rId22"/>
    <p:sldLayoutId id="2147484275" r:id="rId23"/>
    <p:sldLayoutId id="2147484276" r:id="rId24"/>
    <p:sldLayoutId id="2147484277" r:id="rId25"/>
    <p:sldLayoutId id="2147484278" r:id="rId26"/>
    <p:sldLayoutId id="2147484279" r:id="rId27"/>
    <p:sldLayoutId id="2147484280" r:id="rId28"/>
    <p:sldLayoutId id="2147484281" r:id="rId29"/>
    <p:sldLayoutId id="2147484282" r:id="rId30"/>
    <p:sldLayoutId id="2147484283" r:id="rId31"/>
    <p:sldLayoutId id="2147484315" r:id="rId3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D6002A"/>
          </a:solidFill>
          <a:latin typeface="+mj-lt"/>
          <a:ea typeface="+mj-ea"/>
          <a:cs typeface="+mj-cs"/>
        </a:defRPr>
      </a:lvl1pPr>
    </p:titleStyle>
    <p:bodyStyle>
      <a:lvl1pPr marL="169863" indent="-169863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03225" indent="-2333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73088" indent="-1698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798513" indent="-22542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1030288" indent="-2317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128" userDrawn="1">
          <p15:clr>
            <a:srgbClr val="F26B43"/>
          </p15:clr>
        </p15:guide>
        <p15:guide id="5" orient="horz" pos="864" userDrawn="1">
          <p15:clr>
            <a:srgbClr val="5ACBF0"/>
          </p15:clr>
        </p15:guide>
        <p15:guide id="6" orient="horz" pos="137" userDrawn="1">
          <p15:clr>
            <a:srgbClr val="A4A3A4"/>
          </p15:clr>
        </p15:guide>
        <p15:guide id="7" orient="horz" pos="3888" userDrawn="1">
          <p15:clr>
            <a:srgbClr val="F26B43"/>
          </p15:clr>
        </p15:guide>
        <p15:guide id="8" orient="horz" pos="4193" userDrawn="1">
          <p15:clr>
            <a:srgbClr val="A4A3A4"/>
          </p15:clr>
        </p15:guide>
        <p15:guide id="9" pos="7424" userDrawn="1">
          <p15:clr>
            <a:srgbClr val="F26B43"/>
          </p15:clr>
        </p15:guide>
        <p15:guide id="10" pos="258" userDrawn="1">
          <p15:clr>
            <a:srgbClr val="F26B43"/>
          </p15:clr>
        </p15:guide>
        <p15:guide id="12" orient="horz" pos="3624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70222977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4" name="think-cell Slide" r:id="rId32" imgW="216" imgH="216" progId="TCLayout.ActiveDocument.1">
                  <p:embed/>
                </p:oleObj>
              </mc:Choice>
              <mc:Fallback>
                <p:oleObj name="think-cell Slide" r:id="rId32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3136" y="217144"/>
            <a:ext cx="10825843" cy="7925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 (sentence case), 28 point Ari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3137" y="1818458"/>
            <a:ext cx="11338057" cy="32974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, normal body text is set at 20pt Arial Bold</a:t>
            </a:r>
          </a:p>
          <a:p>
            <a:pPr marL="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40114" y="6441392"/>
            <a:ext cx="3901575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50" b="0" i="0">
                <a:solidFill>
                  <a:schemeClr val="bg1">
                    <a:lumMod val="50000"/>
                  </a:schemeClr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6777" y="6435042"/>
            <a:ext cx="274417" cy="25468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0" i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-1546712" y="5995120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-1546711" y="5855952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12287026" y="5993538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2287026" y="5854370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2"/>
          </p:nvPr>
        </p:nvSpPr>
        <p:spPr>
          <a:xfrm>
            <a:off x="8561919" y="1100213"/>
            <a:ext cx="3181349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lang="en-US" sz="1000" b="0" i="0" smtClean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904" y="6355419"/>
            <a:ext cx="1287129" cy="21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883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7" r:id="rId1"/>
    <p:sldLayoutId id="2147484288" r:id="rId2"/>
    <p:sldLayoutId id="2147484289" r:id="rId3"/>
    <p:sldLayoutId id="2147484290" r:id="rId4"/>
    <p:sldLayoutId id="2147484291" r:id="rId5"/>
    <p:sldLayoutId id="2147484292" r:id="rId6"/>
    <p:sldLayoutId id="2147484293" r:id="rId7"/>
    <p:sldLayoutId id="2147484294" r:id="rId8"/>
    <p:sldLayoutId id="2147484295" r:id="rId9"/>
    <p:sldLayoutId id="2147484296" r:id="rId10"/>
    <p:sldLayoutId id="2147484297" r:id="rId11"/>
    <p:sldLayoutId id="2147484298" r:id="rId12"/>
    <p:sldLayoutId id="2147484299" r:id="rId13"/>
    <p:sldLayoutId id="2147484300" r:id="rId14"/>
    <p:sldLayoutId id="2147484301" r:id="rId15"/>
    <p:sldLayoutId id="2147484302" r:id="rId16"/>
    <p:sldLayoutId id="2147484303" r:id="rId17"/>
    <p:sldLayoutId id="2147484304" r:id="rId18"/>
    <p:sldLayoutId id="2147484305" r:id="rId19"/>
    <p:sldLayoutId id="2147484306" r:id="rId20"/>
    <p:sldLayoutId id="2147484307" r:id="rId21"/>
    <p:sldLayoutId id="2147484308" r:id="rId22"/>
    <p:sldLayoutId id="2147484309" r:id="rId23"/>
    <p:sldLayoutId id="2147484310" r:id="rId24"/>
    <p:sldLayoutId id="2147484311" r:id="rId25"/>
    <p:sldLayoutId id="2147484312" r:id="rId26"/>
    <p:sldLayoutId id="2147484313" r:id="rId27"/>
  </p:sldLayoutIdLst>
  <p:hf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defRPr sz="28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spcBef>
          <a:spcPts val="500"/>
        </a:spcBef>
        <a:buFont typeface="Arial"/>
        <a:buNone/>
        <a:defRPr sz="20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182880" marR="0" indent="-182880" algn="l" defTabSz="4572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200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93192" indent="-182880" algn="l" defTabSz="457200" rtl="0" eaLnBrk="1" latinLnBrk="0" hangingPunct="1">
        <a:spcBef>
          <a:spcPts val="6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603504" indent="-182880" algn="l" defTabSz="457200" rtl="0" eaLnBrk="1" latinLnBrk="0" hangingPunct="1">
        <a:spcBef>
          <a:spcPts val="500"/>
        </a:spcBef>
        <a:buSzPct val="100000"/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822960" indent="-182880" algn="l" defTabSz="457200" rtl="0" eaLnBrk="1" latinLnBrk="0" hangingPunct="1">
        <a:spcBef>
          <a:spcPts val="5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95.xml"/><Relationship Id="rId13" Type="http://schemas.openxmlformats.org/officeDocument/2006/relationships/chart" Target="../charts/chart10.xml"/><Relationship Id="rId3" Type="http://schemas.openxmlformats.org/officeDocument/2006/relationships/tags" Target="../tags/tag190.xml"/><Relationship Id="rId7" Type="http://schemas.openxmlformats.org/officeDocument/2006/relationships/tags" Target="../tags/tag194.xml"/><Relationship Id="rId12" Type="http://schemas.openxmlformats.org/officeDocument/2006/relationships/image" Target="../media/image9.emf"/><Relationship Id="rId2" Type="http://schemas.openxmlformats.org/officeDocument/2006/relationships/tags" Target="../tags/tag189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93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192.xml"/><Relationship Id="rId10" Type="http://schemas.openxmlformats.org/officeDocument/2006/relationships/slideLayout" Target="../slideLayouts/slideLayout32.xml"/><Relationship Id="rId4" Type="http://schemas.openxmlformats.org/officeDocument/2006/relationships/tags" Target="../tags/tag191.xml"/><Relationship Id="rId9" Type="http://schemas.openxmlformats.org/officeDocument/2006/relationships/tags" Target="../tags/tag19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03.xml"/><Relationship Id="rId13" Type="http://schemas.openxmlformats.org/officeDocument/2006/relationships/chart" Target="../charts/chart11.xml"/><Relationship Id="rId3" Type="http://schemas.openxmlformats.org/officeDocument/2006/relationships/tags" Target="../tags/tag198.xml"/><Relationship Id="rId7" Type="http://schemas.openxmlformats.org/officeDocument/2006/relationships/tags" Target="../tags/tag202.xml"/><Relationship Id="rId12" Type="http://schemas.openxmlformats.org/officeDocument/2006/relationships/image" Target="../media/image9.emf"/><Relationship Id="rId2" Type="http://schemas.openxmlformats.org/officeDocument/2006/relationships/tags" Target="../tags/tag197.xml"/><Relationship Id="rId1" Type="http://schemas.openxmlformats.org/officeDocument/2006/relationships/vmlDrawing" Target="../drawings/vmlDrawing19.vml"/><Relationship Id="rId6" Type="http://schemas.openxmlformats.org/officeDocument/2006/relationships/tags" Target="../tags/tag201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200.xml"/><Relationship Id="rId10" Type="http://schemas.openxmlformats.org/officeDocument/2006/relationships/slideLayout" Target="../slideLayouts/slideLayout32.xml"/><Relationship Id="rId4" Type="http://schemas.openxmlformats.org/officeDocument/2006/relationships/tags" Target="../tags/tag199.xml"/><Relationship Id="rId9" Type="http://schemas.openxmlformats.org/officeDocument/2006/relationships/tags" Target="../tags/tag20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13" Type="http://schemas.openxmlformats.org/officeDocument/2006/relationships/chart" Target="../charts/chart12.xml"/><Relationship Id="rId3" Type="http://schemas.openxmlformats.org/officeDocument/2006/relationships/tags" Target="../tags/tag206.xml"/><Relationship Id="rId7" Type="http://schemas.openxmlformats.org/officeDocument/2006/relationships/tags" Target="../tags/tag210.xml"/><Relationship Id="rId12" Type="http://schemas.openxmlformats.org/officeDocument/2006/relationships/image" Target="../media/image9.emf"/><Relationship Id="rId2" Type="http://schemas.openxmlformats.org/officeDocument/2006/relationships/tags" Target="../tags/tag205.xml"/><Relationship Id="rId1" Type="http://schemas.openxmlformats.org/officeDocument/2006/relationships/vmlDrawing" Target="../drawings/vmlDrawing20.vml"/><Relationship Id="rId6" Type="http://schemas.openxmlformats.org/officeDocument/2006/relationships/tags" Target="../tags/tag209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208.xml"/><Relationship Id="rId10" Type="http://schemas.openxmlformats.org/officeDocument/2006/relationships/slideLayout" Target="../slideLayouts/slideLayout32.xml"/><Relationship Id="rId4" Type="http://schemas.openxmlformats.org/officeDocument/2006/relationships/tags" Target="../tags/tag207.xml"/><Relationship Id="rId9" Type="http://schemas.openxmlformats.org/officeDocument/2006/relationships/tags" Target="../tags/tag2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13" Type="http://schemas.openxmlformats.org/officeDocument/2006/relationships/chart" Target="../charts/chart13.xml"/><Relationship Id="rId3" Type="http://schemas.openxmlformats.org/officeDocument/2006/relationships/tags" Target="../tags/tag214.xml"/><Relationship Id="rId7" Type="http://schemas.openxmlformats.org/officeDocument/2006/relationships/tags" Target="../tags/tag218.xml"/><Relationship Id="rId12" Type="http://schemas.openxmlformats.org/officeDocument/2006/relationships/image" Target="../media/image9.emf"/><Relationship Id="rId2" Type="http://schemas.openxmlformats.org/officeDocument/2006/relationships/tags" Target="../tags/tag213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17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216.xml"/><Relationship Id="rId10" Type="http://schemas.openxmlformats.org/officeDocument/2006/relationships/slideLayout" Target="../slideLayouts/slideLayout32.xml"/><Relationship Id="rId4" Type="http://schemas.openxmlformats.org/officeDocument/2006/relationships/tags" Target="../tags/tag215.xml"/><Relationship Id="rId9" Type="http://schemas.openxmlformats.org/officeDocument/2006/relationships/tags" Target="../tags/tag2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22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3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3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226.xml"/><Relationship Id="rId7" Type="http://schemas.openxmlformats.org/officeDocument/2006/relationships/image" Target="../media/image22.png"/><Relationship Id="rId2" Type="http://schemas.openxmlformats.org/officeDocument/2006/relationships/tags" Target="../tags/tag2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3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3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234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3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236.xml"/><Relationship Id="rId7" Type="http://schemas.openxmlformats.org/officeDocument/2006/relationships/image" Target="../media/image26.png"/><Relationship Id="rId2" Type="http://schemas.openxmlformats.org/officeDocument/2006/relationships/tags" Target="../tags/tag23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3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238.xml"/><Relationship Id="rId7" Type="http://schemas.openxmlformats.org/officeDocument/2006/relationships/image" Target="../media/image28.png"/><Relationship Id="rId2" Type="http://schemas.openxmlformats.org/officeDocument/2006/relationships/tags" Target="../tags/tag23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3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240.xml"/><Relationship Id="rId7" Type="http://schemas.openxmlformats.org/officeDocument/2006/relationships/image" Target="../media/image30.png"/><Relationship Id="rId2" Type="http://schemas.openxmlformats.org/officeDocument/2006/relationships/tags" Target="../tags/tag23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3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tags" Target="../tags/tag242.xml"/><Relationship Id="rId7" Type="http://schemas.openxmlformats.org/officeDocument/2006/relationships/image" Target="../media/image32.png"/><Relationship Id="rId2" Type="http://schemas.openxmlformats.org/officeDocument/2006/relationships/tags" Target="../tags/tag241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32.xml"/><Relationship Id="rId9" Type="http://schemas.openxmlformats.org/officeDocument/2006/relationships/comments" Target="../comments/commen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244.xml"/><Relationship Id="rId7" Type="http://schemas.openxmlformats.org/officeDocument/2006/relationships/image" Target="../media/image34.png"/><Relationship Id="rId2" Type="http://schemas.openxmlformats.org/officeDocument/2006/relationships/tags" Target="../tags/tag24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9.emf"/><Relationship Id="rId11" Type="http://schemas.openxmlformats.org/officeDocument/2006/relationships/image" Target="../media/image38.png"/><Relationship Id="rId5" Type="http://schemas.openxmlformats.org/officeDocument/2006/relationships/oleObject" Target="../embeddings/oleObject35.bin"/><Relationship Id="rId10" Type="http://schemas.openxmlformats.org/officeDocument/2006/relationships/image" Target="../media/image37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36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tags" Target="../tags/tag246.xml"/><Relationship Id="rId7" Type="http://schemas.openxmlformats.org/officeDocument/2006/relationships/image" Target="../media/image39.png"/><Relationship Id="rId2" Type="http://schemas.openxmlformats.org/officeDocument/2006/relationships/tags" Target="../tags/tag24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9.emf"/><Relationship Id="rId11" Type="http://schemas.openxmlformats.org/officeDocument/2006/relationships/image" Target="../media/image43.png"/><Relationship Id="rId5" Type="http://schemas.openxmlformats.org/officeDocument/2006/relationships/oleObject" Target="../embeddings/oleObject36.bin"/><Relationship Id="rId10" Type="http://schemas.openxmlformats.org/officeDocument/2006/relationships/image" Target="../media/image42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41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tags" Target="../tags/tag248.xml"/><Relationship Id="rId7" Type="http://schemas.openxmlformats.org/officeDocument/2006/relationships/image" Target="../media/image44.png"/><Relationship Id="rId2" Type="http://schemas.openxmlformats.org/officeDocument/2006/relationships/tags" Target="../tags/tag247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9.emf"/><Relationship Id="rId11" Type="http://schemas.openxmlformats.org/officeDocument/2006/relationships/image" Target="../media/image48.png"/><Relationship Id="rId5" Type="http://schemas.openxmlformats.org/officeDocument/2006/relationships/oleObject" Target="../embeddings/oleObject37.bin"/><Relationship Id="rId10" Type="http://schemas.openxmlformats.org/officeDocument/2006/relationships/image" Target="../media/image47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46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tags" Target="../tags/tag250.xml"/><Relationship Id="rId7" Type="http://schemas.openxmlformats.org/officeDocument/2006/relationships/image" Target="../media/image49.png"/><Relationship Id="rId2" Type="http://schemas.openxmlformats.org/officeDocument/2006/relationships/tags" Target="../tags/tag249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9.emf"/><Relationship Id="rId11" Type="http://schemas.openxmlformats.org/officeDocument/2006/relationships/image" Target="../media/image53.png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52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51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tags" Target="../tags/tag252.xml"/><Relationship Id="rId7" Type="http://schemas.openxmlformats.org/officeDocument/2006/relationships/image" Target="../media/image54.png"/><Relationship Id="rId2" Type="http://schemas.openxmlformats.org/officeDocument/2006/relationships/tags" Target="../tags/tag251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9.emf"/><Relationship Id="rId11" Type="http://schemas.openxmlformats.org/officeDocument/2006/relationships/image" Target="../media/image58.png"/><Relationship Id="rId5" Type="http://schemas.openxmlformats.org/officeDocument/2006/relationships/oleObject" Target="../embeddings/oleObject39.bin"/><Relationship Id="rId10" Type="http://schemas.openxmlformats.org/officeDocument/2006/relationships/image" Target="../media/image57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5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tags" Target="../tags/tag254.xml"/><Relationship Id="rId7" Type="http://schemas.openxmlformats.org/officeDocument/2006/relationships/image" Target="../media/image59.png"/><Relationship Id="rId2" Type="http://schemas.openxmlformats.org/officeDocument/2006/relationships/tags" Target="../tags/tag253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3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tags" Target="../tags/tag256.xml"/><Relationship Id="rId7" Type="http://schemas.openxmlformats.org/officeDocument/2006/relationships/image" Target="../media/image61.png"/><Relationship Id="rId2" Type="http://schemas.openxmlformats.org/officeDocument/2006/relationships/tags" Target="../tags/tag255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1.bin"/><Relationship Id="rId4" Type="http://schemas.openxmlformats.org/officeDocument/2006/relationships/slideLayout" Target="../slideLayouts/slideLayout3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tags" Target="../tags/tag258.xml"/><Relationship Id="rId7" Type="http://schemas.openxmlformats.org/officeDocument/2006/relationships/image" Target="../media/image63.png"/><Relationship Id="rId2" Type="http://schemas.openxmlformats.org/officeDocument/2006/relationships/tags" Target="../tags/tag257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2.bin"/><Relationship Id="rId4" Type="http://schemas.openxmlformats.org/officeDocument/2006/relationships/slideLayout" Target="../slideLayouts/slideLayout3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tags" Target="../tags/tag260.xml"/><Relationship Id="rId7" Type="http://schemas.openxmlformats.org/officeDocument/2006/relationships/image" Target="../media/image65.png"/><Relationship Id="rId2" Type="http://schemas.openxmlformats.org/officeDocument/2006/relationships/tags" Target="../tags/tag259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3.bin"/><Relationship Id="rId4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26" Type="http://schemas.openxmlformats.org/officeDocument/2006/relationships/tags" Target="../tags/tag47.xml"/><Relationship Id="rId39" Type="http://schemas.openxmlformats.org/officeDocument/2006/relationships/tags" Target="../tags/tag60.xml"/><Relationship Id="rId21" Type="http://schemas.openxmlformats.org/officeDocument/2006/relationships/tags" Target="../tags/tag42.xml"/><Relationship Id="rId34" Type="http://schemas.openxmlformats.org/officeDocument/2006/relationships/tags" Target="../tags/tag55.xml"/><Relationship Id="rId42" Type="http://schemas.openxmlformats.org/officeDocument/2006/relationships/tags" Target="../tags/tag63.xml"/><Relationship Id="rId47" Type="http://schemas.openxmlformats.org/officeDocument/2006/relationships/tags" Target="../tags/tag68.xml"/><Relationship Id="rId50" Type="http://schemas.openxmlformats.org/officeDocument/2006/relationships/tags" Target="../tags/tag71.xml"/><Relationship Id="rId55" Type="http://schemas.openxmlformats.org/officeDocument/2006/relationships/chart" Target="../charts/chart2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6" Type="http://schemas.openxmlformats.org/officeDocument/2006/relationships/tags" Target="../tags/tag37.xml"/><Relationship Id="rId29" Type="http://schemas.openxmlformats.org/officeDocument/2006/relationships/tags" Target="../tags/tag50.xml"/><Relationship Id="rId11" Type="http://schemas.openxmlformats.org/officeDocument/2006/relationships/tags" Target="../tags/tag32.xml"/><Relationship Id="rId24" Type="http://schemas.openxmlformats.org/officeDocument/2006/relationships/tags" Target="../tags/tag45.xml"/><Relationship Id="rId32" Type="http://schemas.openxmlformats.org/officeDocument/2006/relationships/tags" Target="../tags/tag53.xml"/><Relationship Id="rId37" Type="http://schemas.openxmlformats.org/officeDocument/2006/relationships/tags" Target="../tags/tag58.xml"/><Relationship Id="rId40" Type="http://schemas.openxmlformats.org/officeDocument/2006/relationships/tags" Target="../tags/tag61.xml"/><Relationship Id="rId45" Type="http://schemas.openxmlformats.org/officeDocument/2006/relationships/tags" Target="../tags/tag66.xml"/><Relationship Id="rId53" Type="http://schemas.openxmlformats.org/officeDocument/2006/relationships/image" Target="../media/image9.emf"/><Relationship Id="rId5" Type="http://schemas.openxmlformats.org/officeDocument/2006/relationships/tags" Target="../tags/tag26.xml"/><Relationship Id="rId19" Type="http://schemas.openxmlformats.org/officeDocument/2006/relationships/tags" Target="../tags/tag40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tags" Target="../tags/tag43.xml"/><Relationship Id="rId27" Type="http://schemas.openxmlformats.org/officeDocument/2006/relationships/tags" Target="../tags/tag48.xml"/><Relationship Id="rId30" Type="http://schemas.openxmlformats.org/officeDocument/2006/relationships/tags" Target="../tags/tag51.xml"/><Relationship Id="rId35" Type="http://schemas.openxmlformats.org/officeDocument/2006/relationships/tags" Target="../tags/tag56.xml"/><Relationship Id="rId43" Type="http://schemas.openxmlformats.org/officeDocument/2006/relationships/tags" Target="../tags/tag64.xml"/><Relationship Id="rId48" Type="http://schemas.openxmlformats.org/officeDocument/2006/relationships/tags" Target="../tags/tag69.xml"/><Relationship Id="rId56" Type="http://schemas.openxmlformats.org/officeDocument/2006/relationships/chart" Target="../charts/chart3.xml"/><Relationship Id="rId8" Type="http://schemas.openxmlformats.org/officeDocument/2006/relationships/tags" Target="../tags/tag29.xml"/><Relationship Id="rId51" Type="http://schemas.openxmlformats.org/officeDocument/2006/relationships/slideLayout" Target="../slideLayouts/slideLayout32.xml"/><Relationship Id="rId3" Type="http://schemas.openxmlformats.org/officeDocument/2006/relationships/tags" Target="../tags/tag24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5" Type="http://schemas.openxmlformats.org/officeDocument/2006/relationships/tags" Target="../tags/tag46.xml"/><Relationship Id="rId33" Type="http://schemas.openxmlformats.org/officeDocument/2006/relationships/tags" Target="../tags/tag54.xml"/><Relationship Id="rId38" Type="http://schemas.openxmlformats.org/officeDocument/2006/relationships/tags" Target="../tags/tag59.xml"/><Relationship Id="rId46" Type="http://schemas.openxmlformats.org/officeDocument/2006/relationships/tags" Target="../tags/tag67.xml"/><Relationship Id="rId20" Type="http://schemas.openxmlformats.org/officeDocument/2006/relationships/tags" Target="../tags/tag41.xml"/><Relationship Id="rId41" Type="http://schemas.openxmlformats.org/officeDocument/2006/relationships/tags" Target="../tags/tag62.xml"/><Relationship Id="rId54" Type="http://schemas.openxmlformats.org/officeDocument/2006/relationships/chart" Target="../charts/chart1.xml"/><Relationship Id="rId1" Type="http://schemas.openxmlformats.org/officeDocument/2006/relationships/vmlDrawing" Target="../drawings/vmlDrawing12.vml"/><Relationship Id="rId6" Type="http://schemas.openxmlformats.org/officeDocument/2006/relationships/tags" Target="../tags/tag27.xml"/><Relationship Id="rId15" Type="http://schemas.openxmlformats.org/officeDocument/2006/relationships/tags" Target="../tags/tag36.xml"/><Relationship Id="rId23" Type="http://schemas.openxmlformats.org/officeDocument/2006/relationships/tags" Target="../tags/tag44.xml"/><Relationship Id="rId28" Type="http://schemas.openxmlformats.org/officeDocument/2006/relationships/tags" Target="../tags/tag49.xml"/><Relationship Id="rId36" Type="http://schemas.openxmlformats.org/officeDocument/2006/relationships/tags" Target="../tags/tag57.xml"/><Relationship Id="rId49" Type="http://schemas.openxmlformats.org/officeDocument/2006/relationships/tags" Target="../tags/tag70.xml"/><Relationship Id="rId57" Type="http://schemas.openxmlformats.org/officeDocument/2006/relationships/comments" Target="../comments/comment1.xml"/><Relationship Id="rId10" Type="http://schemas.openxmlformats.org/officeDocument/2006/relationships/tags" Target="../tags/tag31.xml"/><Relationship Id="rId31" Type="http://schemas.openxmlformats.org/officeDocument/2006/relationships/tags" Target="../tags/tag52.xml"/><Relationship Id="rId44" Type="http://schemas.openxmlformats.org/officeDocument/2006/relationships/tags" Target="../tags/tag65.xml"/><Relationship Id="rId52" Type="http://schemas.openxmlformats.org/officeDocument/2006/relationships/oleObject" Target="../embeddings/oleObject14.bin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96.xml"/><Relationship Id="rId21" Type="http://schemas.openxmlformats.org/officeDocument/2006/relationships/tags" Target="../tags/tag91.xml"/><Relationship Id="rId42" Type="http://schemas.openxmlformats.org/officeDocument/2006/relationships/tags" Target="../tags/tag112.xml"/><Relationship Id="rId47" Type="http://schemas.openxmlformats.org/officeDocument/2006/relationships/tags" Target="../tags/tag117.xml"/><Relationship Id="rId63" Type="http://schemas.openxmlformats.org/officeDocument/2006/relationships/tags" Target="../tags/tag133.xml"/><Relationship Id="rId68" Type="http://schemas.openxmlformats.org/officeDocument/2006/relationships/tags" Target="../tags/tag138.xml"/><Relationship Id="rId2" Type="http://schemas.openxmlformats.org/officeDocument/2006/relationships/tags" Target="../tags/tag72.xml"/><Relationship Id="rId16" Type="http://schemas.openxmlformats.org/officeDocument/2006/relationships/tags" Target="../tags/tag86.xml"/><Relationship Id="rId29" Type="http://schemas.openxmlformats.org/officeDocument/2006/relationships/tags" Target="../tags/tag99.xml"/><Relationship Id="rId11" Type="http://schemas.openxmlformats.org/officeDocument/2006/relationships/tags" Target="../tags/tag81.xml"/><Relationship Id="rId24" Type="http://schemas.openxmlformats.org/officeDocument/2006/relationships/tags" Target="../tags/tag94.xml"/><Relationship Id="rId32" Type="http://schemas.openxmlformats.org/officeDocument/2006/relationships/tags" Target="../tags/tag102.xml"/><Relationship Id="rId37" Type="http://schemas.openxmlformats.org/officeDocument/2006/relationships/tags" Target="../tags/tag107.xml"/><Relationship Id="rId40" Type="http://schemas.openxmlformats.org/officeDocument/2006/relationships/tags" Target="../tags/tag110.xml"/><Relationship Id="rId45" Type="http://schemas.openxmlformats.org/officeDocument/2006/relationships/tags" Target="../tags/tag115.xml"/><Relationship Id="rId53" Type="http://schemas.openxmlformats.org/officeDocument/2006/relationships/tags" Target="../tags/tag123.xml"/><Relationship Id="rId58" Type="http://schemas.openxmlformats.org/officeDocument/2006/relationships/tags" Target="../tags/tag128.xml"/><Relationship Id="rId66" Type="http://schemas.openxmlformats.org/officeDocument/2006/relationships/tags" Target="../tags/tag136.xml"/><Relationship Id="rId74" Type="http://schemas.openxmlformats.org/officeDocument/2006/relationships/chart" Target="../charts/chart4.xml"/><Relationship Id="rId5" Type="http://schemas.openxmlformats.org/officeDocument/2006/relationships/tags" Target="../tags/tag75.xml"/><Relationship Id="rId61" Type="http://schemas.openxmlformats.org/officeDocument/2006/relationships/tags" Target="../tags/tag131.xml"/><Relationship Id="rId19" Type="http://schemas.openxmlformats.org/officeDocument/2006/relationships/tags" Target="../tags/tag89.xml"/><Relationship Id="rId14" Type="http://schemas.openxmlformats.org/officeDocument/2006/relationships/tags" Target="../tags/tag84.xml"/><Relationship Id="rId22" Type="http://schemas.openxmlformats.org/officeDocument/2006/relationships/tags" Target="../tags/tag92.xml"/><Relationship Id="rId27" Type="http://schemas.openxmlformats.org/officeDocument/2006/relationships/tags" Target="../tags/tag97.xml"/><Relationship Id="rId30" Type="http://schemas.openxmlformats.org/officeDocument/2006/relationships/tags" Target="../tags/tag100.xml"/><Relationship Id="rId35" Type="http://schemas.openxmlformats.org/officeDocument/2006/relationships/tags" Target="../tags/tag105.xml"/><Relationship Id="rId43" Type="http://schemas.openxmlformats.org/officeDocument/2006/relationships/tags" Target="../tags/tag113.xml"/><Relationship Id="rId48" Type="http://schemas.openxmlformats.org/officeDocument/2006/relationships/tags" Target="../tags/tag118.xml"/><Relationship Id="rId56" Type="http://schemas.openxmlformats.org/officeDocument/2006/relationships/tags" Target="../tags/tag126.xml"/><Relationship Id="rId64" Type="http://schemas.openxmlformats.org/officeDocument/2006/relationships/tags" Target="../tags/tag134.xml"/><Relationship Id="rId69" Type="http://schemas.openxmlformats.org/officeDocument/2006/relationships/tags" Target="../tags/tag139.xml"/><Relationship Id="rId8" Type="http://schemas.openxmlformats.org/officeDocument/2006/relationships/tags" Target="../tags/tag78.xml"/><Relationship Id="rId51" Type="http://schemas.openxmlformats.org/officeDocument/2006/relationships/tags" Target="../tags/tag121.xml"/><Relationship Id="rId72" Type="http://schemas.openxmlformats.org/officeDocument/2006/relationships/oleObject" Target="../embeddings/oleObject15.bin"/><Relationship Id="rId3" Type="http://schemas.openxmlformats.org/officeDocument/2006/relationships/tags" Target="../tags/tag73.xml"/><Relationship Id="rId12" Type="http://schemas.openxmlformats.org/officeDocument/2006/relationships/tags" Target="../tags/tag82.xml"/><Relationship Id="rId17" Type="http://schemas.openxmlformats.org/officeDocument/2006/relationships/tags" Target="../tags/tag87.xml"/><Relationship Id="rId25" Type="http://schemas.openxmlformats.org/officeDocument/2006/relationships/tags" Target="../tags/tag95.xml"/><Relationship Id="rId33" Type="http://schemas.openxmlformats.org/officeDocument/2006/relationships/tags" Target="../tags/tag103.xml"/><Relationship Id="rId38" Type="http://schemas.openxmlformats.org/officeDocument/2006/relationships/tags" Target="../tags/tag108.xml"/><Relationship Id="rId46" Type="http://schemas.openxmlformats.org/officeDocument/2006/relationships/tags" Target="../tags/tag116.xml"/><Relationship Id="rId59" Type="http://schemas.openxmlformats.org/officeDocument/2006/relationships/tags" Target="../tags/tag129.xml"/><Relationship Id="rId67" Type="http://schemas.openxmlformats.org/officeDocument/2006/relationships/tags" Target="../tags/tag137.xml"/><Relationship Id="rId20" Type="http://schemas.openxmlformats.org/officeDocument/2006/relationships/tags" Target="../tags/tag90.xml"/><Relationship Id="rId41" Type="http://schemas.openxmlformats.org/officeDocument/2006/relationships/tags" Target="../tags/tag111.xml"/><Relationship Id="rId54" Type="http://schemas.openxmlformats.org/officeDocument/2006/relationships/tags" Target="../tags/tag124.xml"/><Relationship Id="rId62" Type="http://schemas.openxmlformats.org/officeDocument/2006/relationships/tags" Target="../tags/tag132.xml"/><Relationship Id="rId70" Type="http://schemas.openxmlformats.org/officeDocument/2006/relationships/tags" Target="../tags/tag140.xml"/><Relationship Id="rId75" Type="http://schemas.openxmlformats.org/officeDocument/2006/relationships/chart" Target="../charts/chart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76.xml"/><Relationship Id="rId15" Type="http://schemas.openxmlformats.org/officeDocument/2006/relationships/tags" Target="../tags/tag85.xml"/><Relationship Id="rId23" Type="http://schemas.openxmlformats.org/officeDocument/2006/relationships/tags" Target="../tags/tag93.xml"/><Relationship Id="rId28" Type="http://schemas.openxmlformats.org/officeDocument/2006/relationships/tags" Target="../tags/tag98.xml"/><Relationship Id="rId36" Type="http://schemas.openxmlformats.org/officeDocument/2006/relationships/tags" Target="../tags/tag106.xml"/><Relationship Id="rId49" Type="http://schemas.openxmlformats.org/officeDocument/2006/relationships/tags" Target="../tags/tag119.xml"/><Relationship Id="rId57" Type="http://schemas.openxmlformats.org/officeDocument/2006/relationships/tags" Target="../tags/tag127.xml"/><Relationship Id="rId10" Type="http://schemas.openxmlformats.org/officeDocument/2006/relationships/tags" Target="../tags/tag80.xml"/><Relationship Id="rId31" Type="http://schemas.openxmlformats.org/officeDocument/2006/relationships/tags" Target="../tags/tag101.xml"/><Relationship Id="rId44" Type="http://schemas.openxmlformats.org/officeDocument/2006/relationships/tags" Target="../tags/tag114.xml"/><Relationship Id="rId52" Type="http://schemas.openxmlformats.org/officeDocument/2006/relationships/tags" Target="../tags/tag122.xml"/><Relationship Id="rId60" Type="http://schemas.openxmlformats.org/officeDocument/2006/relationships/tags" Target="../tags/tag130.xml"/><Relationship Id="rId65" Type="http://schemas.openxmlformats.org/officeDocument/2006/relationships/tags" Target="../tags/tag135.xml"/><Relationship Id="rId73" Type="http://schemas.openxmlformats.org/officeDocument/2006/relationships/image" Target="../media/image9.emf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3" Type="http://schemas.openxmlformats.org/officeDocument/2006/relationships/tags" Target="../tags/tag83.xml"/><Relationship Id="rId18" Type="http://schemas.openxmlformats.org/officeDocument/2006/relationships/tags" Target="../tags/tag88.xml"/><Relationship Id="rId39" Type="http://schemas.openxmlformats.org/officeDocument/2006/relationships/tags" Target="../tags/tag109.xml"/><Relationship Id="rId34" Type="http://schemas.openxmlformats.org/officeDocument/2006/relationships/tags" Target="../tags/tag104.xml"/><Relationship Id="rId50" Type="http://schemas.openxmlformats.org/officeDocument/2006/relationships/tags" Target="../tags/tag120.xml"/><Relationship Id="rId55" Type="http://schemas.openxmlformats.org/officeDocument/2006/relationships/tags" Target="../tags/tag125.xml"/><Relationship Id="rId76" Type="http://schemas.openxmlformats.org/officeDocument/2006/relationships/chart" Target="../charts/chart6.xml"/><Relationship Id="rId7" Type="http://schemas.openxmlformats.org/officeDocument/2006/relationships/tags" Target="../tags/tag77.xml"/><Relationship Id="rId7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52.xml"/><Relationship Id="rId18" Type="http://schemas.openxmlformats.org/officeDocument/2006/relationships/tags" Target="../tags/tag157.xml"/><Relationship Id="rId26" Type="http://schemas.openxmlformats.org/officeDocument/2006/relationships/tags" Target="../tags/tag165.xml"/><Relationship Id="rId39" Type="http://schemas.openxmlformats.org/officeDocument/2006/relationships/tags" Target="../tags/tag178.xml"/><Relationship Id="rId21" Type="http://schemas.openxmlformats.org/officeDocument/2006/relationships/tags" Target="../tags/tag160.xml"/><Relationship Id="rId34" Type="http://schemas.openxmlformats.org/officeDocument/2006/relationships/tags" Target="../tags/tag173.xml"/><Relationship Id="rId42" Type="http://schemas.openxmlformats.org/officeDocument/2006/relationships/tags" Target="../tags/tag181.xml"/><Relationship Id="rId47" Type="http://schemas.openxmlformats.org/officeDocument/2006/relationships/chart" Target="../charts/chart7.xml"/><Relationship Id="rId7" Type="http://schemas.openxmlformats.org/officeDocument/2006/relationships/tags" Target="../tags/tag146.xml"/><Relationship Id="rId2" Type="http://schemas.openxmlformats.org/officeDocument/2006/relationships/tags" Target="../tags/tag141.xml"/><Relationship Id="rId16" Type="http://schemas.openxmlformats.org/officeDocument/2006/relationships/tags" Target="../tags/tag155.xml"/><Relationship Id="rId29" Type="http://schemas.openxmlformats.org/officeDocument/2006/relationships/tags" Target="../tags/tag168.xml"/><Relationship Id="rId11" Type="http://schemas.openxmlformats.org/officeDocument/2006/relationships/tags" Target="../tags/tag150.xml"/><Relationship Id="rId24" Type="http://schemas.openxmlformats.org/officeDocument/2006/relationships/tags" Target="../tags/tag163.xml"/><Relationship Id="rId32" Type="http://schemas.openxmlformats.org/officeDocument/2006/relationships/tags" Target="../tags/tag171.xml"/><Relationship Id="rId37" Type="http://schemas.openxmlformats.org/officeDocument/2006/relationships/tags" Target="../tags/tag176.xml"/><Relationship Id="rId40" Type="http://schemas.openxmlformats.org/officeDocument/2006/relationships/tags" Target="../tags/tag179.xml"/><Relationship Id="rId45" Type="http://schemas.openxmlformats.org/officeDocument/2006/relationships/oleObject" Target="../embeddings/oleObject16.bin"/><Relationship Id="rId5" Type="http://schemas.openxmlformats.org/officeDocument/2006/relationships/tags" Target="../tags/tag144.xml"/><Relationship Id="rId15" Type="http://schemas.openxmlformats.org/officeDocument/2006/relationships/tags" Target="../tags/tag154.xml"/><Relationship Id="rId23" Type="http://schemas.openxmlformats.org/officeDocument/2006/relationships/tags" Target="../tags/tag162.xml"/><Relationship Id="rId28" Type="http://schemas.openxmlformats.org/officeDocument/2006/relationships/tags" Target="../tags/tag167.xml"/><Relationship Id="rId36" Type="http://schemas.openxmlformats.org/officeDocument/2006/relationships/tags" Target="../tags/tag175.xml"/><Relationship Id="rId49" Type="http://schemas.openxmlformats.org/officeDocument/2006/relationships/chart" Target="../charts/chart9.xml"/><Relationship Id="rId10" Type="http://schemas.openxmlformats.org/officeDocument/2006/relationships/tags" Target="../tags/tag149.xml"/><Relationship Id="rId19" Type="http://schemas.openxmlformats.org/officeDocument/2006/relationships/tags" Target="../tags/tag158.xml"/><Relationship Id="rId31" Type="http://schemas.openxmlformats.org/officeDocument/2006/relationships/tags" Target="../tags/tag170.xml"/><Relationship Id="rId44" Type="http://schemas.openxmlformats.org/officeDocument/2006/relationships/slideLayout" Target="../slideLayouts/slideLayout32.xml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4" Type="http://schemas.openxmlformats.org/officeDocument/2006/relationships/tags" Target="../tags/tag153.xml"/><Relationship Id="rId22" Type="http://schemas.openxmlformats.org/officeDocument/2006/relationships/tags" Target="../tags/tag161.xml"/><Relationship Id="rId27" Type="http://schemas.openxmlformats.org/officeDocument/2006/relationships/tags" Target="../tags/tag166.xml"/><Relationship Id="rId30" Type="http://schemas.openxmlformats.org/officeDocument/2006/relationships/tags" Target="../tags/tag169.xml"/><Relationship Id="rId35" Type="http://schemas.openxmlformats.org/officeDocument/2006/relationships/tags" Target="../tags/tag174.xml"/><Relationship Id="rId43" Type="http://schemas.openxmlformats.org/officeDocument/2006/relationships/tags" Target="../tags/tag182.xml"/><Relationship Id="rId48" Type="http://schemas.openxmlformats.org/officeDocument/2006/relationships/chart" Target="../charts/chart8.xml"/><Relationship Id="rId8" Type="http://schemas.openxmlformats.org/officeDocument/2006/relationships/tags" Target="../tags/tag147.xml"/><Relationship Id="rId3" Type="http://schemas.openxmlformats.org/officeDocument/2006/relationships/tags" Target="../tags/tag142.xml"/><Relationship Id="rId12" Type="http://schemas.openxmlformats.org/officeDocument/2006/relationships/tags" Target="../tags/tag151.xml"/><Relationship Id="rId17" Type="http://schemas.openxmlformats.org/officeDocument/2006/relationships/tags" Target="../tags/tag156.xml"/><Relationship Id="rId25" Type="http://schemas.openxmlformats.org/officeDocument/2006/relationships/tags" Target="../tags/tag164.xml"/><Relationship Id="rId33" Type="http://schemas.openxmlformats.org/officeDocument/2006/relationships/tags" Target="../tags/tag172.xml"/><Relationship Id="rId38" Type="http://schemas.openxmlformats.org/officeDocument/2006/relationships/tags" Target="../tags/tag177.xml"/><Relationship Id="rId46" Type="http://schemas.openxmlformats.org/officeDocument/2006/relationships/image" Target="../media/image9.emf"/><Relationship Id="rId20" Type="http://schemas.openxmlformats.org/officeDocument/2006/relationships/tags" Target="../tags/tag159.xml"/><Relationship Id="rId41" Type="http://schemas.openxmlformats.org/officeDocument/2006/relationships/tags" Target="../tags/tag180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4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84.xml"/><Relationship Id="rId7" Type="http://schemas.openxmlformats.org/officeDocument/2006/relationships/image" Target="../media/image14.png"/><Relationship Id="rId2" Type="http://schemas.openxmlformats.org/officeDocument/2006/relationships/tags" Target="../tags/tag18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86.xml"/><Relationship Id="rId7" Type="http://schemas.openxmlformats.org/officeDocument/2006/relationships/image" Target="../media/image16.png"/><Relationship Id="rId2" Type="http://schemas.openxmlformats.org/officeDocument/2006/relationships/tags" Target="../tags/tag18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88.xml"/><Relationship Id="rId7" Type="http://schemas.openxmlformats.org/officeDocument/2006/relationships/image" Target="../media/image19.png"/><Relationship Id="rId2" Type="http://schemas.openxmlformats.org/officeDocument/2006/relationships/tags" Target="../tags/tag18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5371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8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692177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600" dirty="0" smtClean="0">
                <a:solidFill>
                  <a:schemeClr val="tx1"/>
                </a:solidFill>
              </a:rPr>
              <a:t>Analysis </a:t>
            </a:r>
            <a:r>
              <a:rPr lang="en-US" sz="3600" dirty="0">
                <a:solidFill>
                  <a:schemeClr val="tx1"/>
                </a:solidFill>
              </a:rPr>
              <a:t>of Glassdoor </a:t>
            </a:r>
            <a:r>
              <a:rPr lang="en-US" sz="3600" dirty="0" smtClean="0">
                <a:solidFill>
                  <a:schemeClr val="tx1"/>
                </a:solidFill>
              </a:rPr>
              <a:t>Reviews for S&amp;P Global </a:t>
            </a: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25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218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34"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800" dirty="0" err="1" smtClean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521" y="210750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Top Keywords with Star Ratings (overall)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0</a:t>
            </a:fld>
            <a:endParaRPr lang="en-US" dirty="0"/>
          </a:p>
        </p:txBody>
      </p:sp>
      <p:graphicFrame>
        <p:nvGraphicFramePr>
          <p:cNvPr id="65" name="Chart 64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91045505"/>
              </p:ext>
            </p:extLst>
          </p:nvPr>
        </p:nvGraphicFramePr>
        <p:xfrm>
          <a:off x="468313" y="1049338"/>
          <a:ext cx="2765425" cy="1674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0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795463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8898885-1314-411C-BFCC-461D9C58A109}" type="datetime'3 ''''''''S''''t''''''''''''''a''''''''''''r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 Star</a:t>
            </a:fld>
            <a:endParaRPr lang="en-US" sz="800" dirty="0"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55650" y="2674938"/>
            <a:ext cx="109538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D98A679-08C8-43E3-81F7-0E0F9A64B84D}" type="datetime'''''''''''''''5'''''''' ''''S''''''''''''''t''''''a''''r''t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 Start</a:t>
            </a:fld>
            <a:endParaRPr lang="en-US" sz="800" dirty="0">
              <a:sym typeface="+mn-lt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835275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8B664E15-C602-4590-9EF3-E36578F677B7}" type="datetime'1'' ''''''''''''''''S''''''''''''''''''''''t''a''r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 Star</a:t>
            </a:fld>
            <a:endParaRPr lang="en-US" sz="800" dirty="0"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276350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BE7245D2-C8EB-4727-9C5A-174D43D0C614}" type="datetime'''4'''''''''''''''''''' ''''''''''''''''''''S''''t''ar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 Star</a:t>
            </a:fld>
            <a:endParaRPr lang="en-US" sz="800" dirty="0">
              <a:sym typeface="+mn-lt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316163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00AC0CCE-8892-4944-B970-FD63F8C90E90}" type="datetime'''''''''''''2'''' ''''''S''tar''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 Star</a:t>
            </a:fld>
            <a:endParaRPr lang="en-US" sz="800" dirty="0">
              <a:sym typeface="+mn-lt"/>
            </a:endParaRPr>
          </a:p>
        </p:txBody>
      </p:sp>
      <p:sp>
        <p:nvSpPr>
          <p:cNvPr id="52" name="TextBox 32"/>
          <p:cNvSpPr txBox="1"/>
          <p:nvPr/>
        </p:nvSpPr>
        <p:spPr>
          <a:xfrm>
            <a:off x="4063293" y="889000"/>
            <a:ext cx="3247936" cy="2246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5 Star ratings</a:t>
            </a:r>
          </a:p>
          <a:p>
            <a:r>
              <a:rPr lang="en-US" sz="1200" b="1" dirty="0" smtClean="0">
                <a:solidFill>
                  <a:srgbClr val="00B050"/>
                </a:solidFill>
              </a:rPr>
              <a:t>(In Pros)</a:t>
            </a:r>
            <a:endParaRPr lang="en-US" sz="1200" b="1" dirty="0">
              <a:solidFill>
                <a:srgbClr val="00B050"/>
              </a:solidFill>
            </a:endParaRP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Work Culture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Work Environment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Good Pay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Great Place to work</a:t>
            </a:r>
          </a:p>
          <a:p>
            <a:pPr marL="342900" indent="-342900">
              <a:buAutoNum type="arabicPeriod"/>
            </a:pPr>
            <a:endParaRPr lang="en-US" sz="1200" dirty="0" smtClean="0">
              <a:latin typeface="Arial (Body)"/>
            </a:endParaRPr>
          </a:p>
          <a:p>
            <a:r>
              <a:rPr lang="en-US" sz="1200" b="1" dirty="0">
                <a:solidFill>
                  <a:srgbClr val="FF0000"/>
                </a:solidFill>
              </a:rPr>
              <a:t>(In </a:t>
            </a:r>
            <a:r>
              <a:rPr lang="en-US" sz="1200" b="1" dirty="0" smtClean="0">
                <a:solidFill>
                  <a:srgbClr val="FF0000"/>
                </a:solidFill>
              </a:rPr>
              <a:t>Cons)</a:t>
            </a:r>
            <a:endParaRPr lang="en-US" sz="1200" b="1" dirty="0">
              <a:solidFill>
                <a:srgbClr val="FF0000"/>
              </a:solidFill>
            </a:endParaRP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Work</a:t>
            </a:r>
            <a:endParaRPr lang="en-US" sz="1600" dirty="0" smtClean="0">
              <a:latin typeface="Arial (Body)"/>
            </a:endParaRPr>
          </a:p>
          <a:p>
            <a:pPr marL="228600" indent="-228600">
              <a:buAutoNum type="arabicPeriod"/>
            </a:pPr>
            <a:r>
              <a:rPr lang="en-US" sz="1200" dirty="0">
                <a:latin typeface="Arial (Body)"/>
              </a:rPr>
              <a:t>Management</a:t>
            </a:r>
          </a:p>
        </p:txBody>
      </p:sp>
      <p:sp>
        <p:nvSpPr>
          <p:cNvPr id="53" name="TextBox 32"/>
          <p:cNvSpPr txBox="1"/>
          <p:nvPr/>
        </p:nvSpPr>
        <p:spPr>
          <a:xfrm>
            <a:off x="7903399" y="885825"/>
            <a:ext cx="3247936" cy="29241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4 Star ratings– </a:t>
            </a:r>
          </a:p>
          <a:p>
            <a:r>
              <a:rPr lang="en-US" sz="1200" b="1" dirty="0">
                <a:solidFill>
                  <a:srgbClr val="00B050"/>
                </a:solidFill>
              </a:rPr>
              <a:t>(In Pros)</a:t>
            </a:r>
            <a:endParaRPr lang="en-US" sz="1200" dirty="0">
              <a:solidFill>
                <a:srgbClr val="00B050"/>
              </a:solidFill>
            </a:endParaRPr>
          </a:p>
          <a:p>
            <a:pPr marL="342900" indent="-342900">
              <a:buAutoNum type="arabicPeriod"/>
            </a:pPr>
            <a:r>
              <a:rPr lang="en-US" sz="1200" dirty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Good Company to Work</a:t>
            </a:r>
            <a:endParaRPr lang="en-US" sz="12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Good Salary</a:t>
            </a:r>
            <a:endParaRPr lang="en-US" sz="12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200" dirty="0">
                <a:latin typeface="Arial (Body)"/>
              </a:rPr>
              <a:t>Good </a:t>
            </a:r>
            <a:r>
              <a:rPr lang="en-US" sz="1200" dirty="0" smtClean="0">
                <a:latin typeface="Arial (Body)"/>
              </a:rPr>
              <a:t>Benefits</a:t>
            </a:r>
            <a:endParaRPr lang="en-US" sz="12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Work environment</a:t>
            </a:r>
          </a:p>
          <a:p>
            <a:endParaRPr lang="en-US" sz="1200" dirty="0" smtClean="0">
              <a:latin typeface="Arial (Body)"/>
            </a:endParaRPr>
          </a:p>
          <a:p>
            <a:r>
              <a:rPr lang="en-US" sz="1200" b="1" dirty="0">
                <a:solidFill>
                  <a:srgbClr val="FF0000"/>
                </a:solidFill>
              </a:rPr>
              <a:t>(In Cons</a:t>
            </a:r>
            <a:r>
              <a:rPr lang="en-US" sz="1200" b="1" dirty="0" smtClean="0">
                <a:solidFill>
                  <a:srgbClr val="FF0000"/>
                </a:solidFill>
              </a:rPr>
              <a:t>)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Work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Employees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Management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Opportunities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Growth</a:t>
            </a:r>
            <a:endParaRPr lang="en-US" sz="1200" dirty="0">
              <a:latin typeface="Arial (Body)"/>
            </a:endParaRPr>
          </a:p>
          <a:p>
            <a:endParaRPr lang="en-US" sz="1200" dirty="0">
              <a:latin typeface="Arial (Body)"/>
            </a:endParaRPr>
          </a:p>
        </p:txBody>
      </p:sp>
      <p:sp>
        <p:nvSpPr>
          <p:cNvPr id="54" name="TextBox 32"/>
          <p:cNvSpPr txBox="1"/>
          <p:nvPr/>
        </p:nvSpPr>
        <p:spPr>
          <a:xfrm>
            <a:off x="1329458" y="3891779"/>
            <a:ext cx="3247936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3 Star ratings– </a:t>
            </a:r>
          </a:p>
          <a:p>
            <a:r>
              <a:rPr lang="en-US" sz="1200" b="1" dirty="0">
                <a:solidFill>
                  <a:srgbClr val="00B050"/>
                </a:solidFill>
              </a:rPr>
              <a:t>(In Pros)</a:t>
            </a:r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Good Pay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Good work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Work from home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Good benefits</a:t>
            </a:r>
          </a:p>
          <a:p>
            <a:endParaRPr lang="en-US" sz="1200" dirty="0" smtClean="0">
              <a:latin typeface="Arial (Body)"/>
            </a:endParaRPr>
          </a:p>
          <a:p>
            <a:r>
              <a:rPr lang="en-US" sz="1200" b="1" dirty="0">
                <a:solidFill>
                  <a:srgbClr val="FF0000"/>
                </a:solidFill>
              </a:rPr>
              <a:t>(In Cons</a:t>
            </a:r>
            <a:r>
              <a:rPr lang="en-US" sz="1200" b="1" dirty="0" smtClean="0">
                <a:solidFill>
                  <a:srgbClr val="FF0000"/>
                </a:solidFill>
              </a:rPr>
              <a:t>)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Upper Management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Work life balance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Growth opportunity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Monotonous work</a:t>
            </a:r>
          </a:p>
          <a:p>
            <a:pPr marL="228600" indent="-228600">
              <a:buAutoNum type="arabicPeriod"/>
            </a:pPr>
            <a:endParaRPr lang="en-US" sz="1200" dirty="0">
              <a:latin typeface="Arial (Body)"/>
            </a:endParaRPr>
          </a:p>
          <a:p>
            <a:endParaRPr lang="en-US" sz="1200" dirty="0" smtClean="0">
              <a:latin typeface="Arial (Body)"/>
            </a:endParaRPr>
          </a:p>
        </p:txBody>
      </p:sp>
      <p:sp>
        <p:nvSpPr>
          <p:cNvPr id="56" name="TextBox 32"/>
          <p:cNvSpPr txBox="1"/>
          <p:nvPr/>
        </p:nvSpPr>
        <p:spPr>
          <a:xfrm>
            <a:off x="4946799" y="3891782"/>
            <a:ext cx="3247936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2 Star ratings– </a:t>
            </a:r>
          </a:p>
          <a:p>
            <a:r>
              <a:rPr lang="en-US" sz="1200" b="1" dirty="0">
                <a:solidFill>
                  <a:srgbClr val="00B050"/>
                </a:solidFill>
              </a:rPr>
              <a:t>(In Pros)</a:t>
            </a:r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Good Benefits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Good Pay</a:t>
            </a:r>
          </a:p>
          <a:p>
            <a:endParaRPr lang="en-US" sz="1200" dirty="0" smtClean="0">
              <a:latin typeface="Arial (Body)"/>
            </a:endParaRPr>
          </a:p>
          <a:p>
            <a:r>
              <a:rPr lang="en-US" sz="1200" b="1" dirty="0">
                <a:solidFill>
                  <a:srgbClr val="FF0000"/>
                </a:solidFill>
              </a:rPr>
              <a:t>(In Cons</a:t>
            </a:r>
            <a:r>
              <a:rPr lang="en-US" sz="1200" b="1" dirty="0" smtClean="0">
                <a:solidFill>
                  <a:srgbClr val="FF0000"/>
                </a:solidFill>
              </a:rPr>
              <a:t>)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Management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Work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Growth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Employees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Work Life Balance</a:t>
            </a:r>
          </a:p>
          <a:p>
            <a:pPr marL="228600" indent="-228600">
              <a:buAutoNum type="arabicPeriod"/>
            </a:pPr>
            <a:endParaRPr lang="en-US" sz="1200" dirty="0">
              <a:latin typeface="Arial (Body)"/>
            </a:endParaRPr>
          </a:p>
          <a:p>
            <a:endParaRPr lang="en-US" sz="1200" dirty="0">
              <a:latin typeface="Arial (Body)"/>
            </a:endParaRPr>
          </a:p>
        </p:txBody>
      </p:sp>
      <p:sp>
        <p:nvSpPr>
          <p:cNvPr id="57" name="TextBox 32"/>
          <p:cNvSpPr txBox="1"/>
          <p:nvPr/>
        </p:nvSpPr>
        <p:spPr>
          <a:xfrm>
            <a:off x="8542355" y="3891782"/>
            <a:ext cx="3247936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1 Star ratings– </a:t>
            </a:r>
          </a:p>
          <a:p>
            <a:r>
              <a:rPr lang="en-US" sz="1200" b="1" dirty="0">
                <a:solidFill>
                  <a:srgbClr val="00B050"/>
                </a:solidFill>
              </a:rPr>
              <a:t>(In Pros)</a:t>
            </a:r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Good Benefits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Good Pay</a:t>
            </a:r>
          </a:p>
          <a:p>
            <a:endParaRPr lang="en-US" sz="1200" dirty="0" smtClean="0">
              <a:latin typeface="Arial (Body)"/>
            </a:endParaRPr>
          </a:p>
          <a:p>
            <a:r>
              <a:rPr lang="en-US" sz="1200" b="1" dirty="0">
                <a:solidFill>
                  <a:srgbClr val="FF0000"/>
                </a:solidFill>
              </a:rPr>
              <a:t>(In Cons)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Management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Growth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Work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People manager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Work life balance</a:t>
            </a:r>
          </a:p>
        </p:txBody>
      </p:sp>
    </p:spTree>
    <p:extLst>
      <p:ext uri="{BB962C8B-B14F-4D97-AF65-F5344CB8AC3E}">
        <p14:creationId xmlns:p14="http://schemas.microsoft.com/office/powerpoint/2010/main" val="403810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0023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83"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800" dirty="0" err="1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521" y="210750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Top Keywords with Star Ratings (Career Opportunity)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1</a:t>
            </a:fld>
            <a:endParaRPr lang="en-US" dirty="0"/>
          </a:p>
        </p:txBody>
      </p:sp>
      <p:graphicFrame>
        <p:nvGraphicFramePr>
          <p:cNvPr id="30" name="Chart 29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64524778"/>
              </p:ext>
            </p:extLst>
          </p:nvPr>
        </p:nvGraphicFramePr>
        <p:xfrm>
          <a:off x="468313" y="1049338"/>
          <a:ext cx="2765425" cy="1674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4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316163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00AC0CCE-8892-4944-B970-FD63F8C90E90}" type="datetime'''''''''''''2'''' ''''''S''tar''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 Star</a:t>
            </a:fld>
            <a:endParaRPr lang="en-US" sz="800" dirty="0"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276350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BE7245D2-C8EB-4727-9C5A-174D43D0C614}" type="datetime'''4'''''''''''''''''''' ''''''''''''''''''''S''''t''ar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 Star</a:t>
            </a:fld>
            <a:endParaRPr lang="en-US" sz="800" dirty="0"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55650" y="2674938"/>
            <a:ext cx="109538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D98A679-08C8-43E3-81F7-0E0F9A64B84D}" type="datetime'''''''''''''''5'''''''' ''''S''''''''''''''t''''''a''''r''t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 Start</a:t>
            </a:fld>
            <a:endParaRPr lang="en-US" sz="800" dirty="0">
              <a:sym typeface="+mn-lt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795463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8898885-1314-411C-BFCC-461D9C58A109}" type="datetime'3 ''''''''S''''t''''''''''''''a''''''''''''r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 Star</a:t>
            </a:fld>
            <a:endParaRPr lang="en-US" sz="800" dirty="0">
              <a:sym typeface="+mn-lt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835275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8B664E15-C602-4590-9EF3-E36578F677B7}" type="datetime'1'' ''''''''''''''''S''''''''''''''''''''''t''a''r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 Star</a:t>
            </a:fld>
            <a:endParaRPr lang="en-US" sz="800" dirty="0">
              <a:sym typeface="+mn-lt"/>
            </a:endParaRPr>
          </a:p>
        </p:txBody>
      </p:sp>
      <p:sp>
        <p:nvSpPr>
          <p:cNvPr id="52" name="TextBox 32"/>
          <p:cNvSpPr txBox="1"/>
          <p:nvPr/>
        </p:nvSpPr>
        <p:spPr>
          <a:xfrm>
            <a:off x="4063293" y="889000"/>
            <a:ext cx="324793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5 Star ratings</a:t>
            </a:r>
          </a:p>
          <a:p>
            <a:r>
              <a:rPr lang="en-US" sz="1400" b="1" dirty="0" smtClean="0">
                <a:solidFill>
                  <a:srgbClr val="00B050"/>
                </a:solidFill>
              </a:rPr>
              <a:t>(In Pros)</a:t>
            </a:r>
          </a:p>
          <a:p>
            <a:endParaRPr lang="en-US" sz="1400" b="1" dirty="0">
              <a:solidFill>
                <a:srgbClr val="00B050"/>
              </a:solidFill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Environment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cultur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Management</a:t>
            </a:r>
          </a:p>
          <a:p>
            <a:endParaRPr lang="en-US" sz="1200" dirty="0" smtClean="0">
              <a:latin typeface="Arial (Body)"/>
            </a:endParaRPr>
          </a:p>
        </p:txBody>
      </p:sp>
      <p:sp>
        <p:nvSpPr>
          <p:cNvPr id="53" name="TextBox 32"/>
          <p:cNvSpPr txBox="1"/>
          <p:nvPr/>
        </p:nvSpPr>
        <p:spPr>
          <a:xfrm>
            <a:off x="7903399" y="885825"/>
            <a:ext cx="3247936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4 Star ratings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Pros</a:t>
            </a:r>
            <a:r>
              <a:rPr lang="en-US" sz="1400" b="1" dirty="0" smtClean="0">
                <a:solidFill>
                  <a:srgbClr val="00B050"/>
                </a:solidFill>
              </a:rPr>
              <a:t>)</a:t>
            </a:r>
          </a:p>
          <a:p>
            <a:endParaRPr lang="en-US" sz="1400" dirty="0">
              <a:solidFill>
                <a:srgbClr val="00B050"/>
              </a:solidFill>
            </a:endParaRP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Work </a:t>
            </a:r>
            <a:r>
              <a:rPr lang="en-US" sz="1400" dirty="0" smtClean="0">
                <a:latin typeface="Arial (Body)"/>
              </a:rPr>
              <a:t>Life balance</a:t>
            </a:r>
            <a:endParaRPr lang="en-US" sz="14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Culture</a:t>
            </a:r>
            <a:endParaRPr lang="en-US" sz="14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Environment</a:t>
            </a:r>
            <a:endParaRPr lang="en-US" sz="14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ay</a:t>
            </a:r>
            <a:endParaRPr lang="en-US" sz="14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environment</a:t>
            </a:r>
          </a:p>
          <a:p>
            <a:endParaRPr lang="en-US" sz="1200" dirty="0" smtClean="0">
              <a:latin typeface="Arial (Body)"/>
            </a:endParaRPr>
          </a:p>
          <a:p>
            <a:endParaRPr lang="en-US" sz="1200" dirty="0">
              <a:latin typeface="Arial (Body)"/>
            </a:endParaRPr>
          </a:p>
        </p:txBody>
      </p:sp>
      <p:sp>
        <p:nvSpPr>
          <p:cNvPr id="54" name="TextBox 32"/>
          <p:cNvSpPr txBox="1"/>
          <p:nvPr/>
        </p:nvSpPr>
        <p:spPr>
          <a:xfrm>
            <a:off x="1329458" y="3891779"/>
            <a:ext cx="3247936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3 Star ratings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Pros</a:t>
            </a:r>
            <a:r>
              <a:rPr lang="en-US" sz="1400" b="1" dirty="0" smtClean="0">
                <a:solidFill>
                  <a:srgbClr val="00B050"/>
                </a:solidFill>
              </a:rPr>
              <a:t>)</a:t>
            </a: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Environment 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Company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culture</a:t>
            </a:r>
          </a:p>
          <a:p>
            <a:endParaRPr lang="en-US" sz="1200" dirty="0" smtClean="0">
              <a:latin typeface="Arial (Body)"/>
            </a:endParaRPr>
          </a:p>
        </p:txBody>
      </p:sp>
      <p:sp>
        <p:nvSpPr>
          <p:cNvPr id="56" name="TextBox 32"/>
          <p:cNvSpPr txBox="1"/>
          <p:nvPr/>
        </p:nvSpPr>
        <p:spPr>
          <a:xfrm>
            <a:off x="4946799" y="3891782"/>
            <a:ext cx="3247936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2 Star ratings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Pros</a:t>
            </a:r>
            <a:r>
              <a:rPr lang="en-US" sz="1400" b="1" dirty="0" smtClean="0">
                <a:solidFill>
                  <a:srgbClr val="00B050"/>
                </a:solidFill>
              </a:rPr>
              <a:t>)</a:t>
            </a: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Benefits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ay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Company</a:t>
            </a:r>
          </a:p>
          <a:p>
            <a:endParaRPr lang="en-US" sz="1200" dirty="0" smtClean="0">
              <a:latin typeface="Arial (Body)"/>
            </a:endParaRPr>
          </a:p>
          <a:p>
            <a:endParaRPr lang="en-US" sz="1200" dirty="0">
              <a:latin typeface="Arial (Body)"/>
            </a:endParaRPr>
          </a:p>
          <a:p>
            <a:endParaRPr lang="en-US" sz="1200" dirty="0">
              <a:latin typeface="Arial (Body)"/>
            </a:endParaRPr>
          </a:p>
        </p:txBody>
      </p:sp>
      <p:sp>
        <p:nvSpPr>
          <p:cNvPr id="57" name="TextBox 32"/>
          <p:cNvSpPr txBox="1"/>
          <p:nvPr/>
        </p:nvSpPr>
        <p:spPr>
          <a:xfrm>
            <a:off x="8542355" y="3891782"/>
            <a:ext cx="3247936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1 Star ratings– </a:t>
            </a:r>
          </a:p>
          <a:p>
            <a:r>
              <a:rPr lang="en-US" sz="1200" b="1" dirty="0">
                <a:solidFill>
                  <a:srgbClr val="00B050"/>
                </a:solidFill>
              </a:rPr>
              <a:t>(In Pros</a:t>
            </a:r>
            <a:r>
              <a:rPr lang="en-US" sz="1200" b="1" dirty="0" smtClean="0">
                <a:solidFill>
                  <a:srgbClr val="00B050"/>
                </a:solidFill>
              </a:rPr>
              <a:t>)</a:t>
            </a: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Benefits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ay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from hom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environment</a:t>
            </a:r>
          </a:p>
          <a:p>
            <a:endParaRPr lang="en-US" sz="1200" dirty="0" smtClean="0">
              <a:latin typeface="Arial (Body)"/>
            </a:endParaRPr>
          </a:p>
          <a:p>
            <a:endParaRPr lang="en-US" sz="1200" dirty="0" smtClean="0">
              <a:latin typeface="Arial (Body)"/>
            </a:endParaRPr>
          </a:p>
        </p:txBody>
      </p:sp>
    </p:spTree>
    <p:extLst>
      <p:ext uri="{BB962C8B-B14F-4D97-AF65-F5344CB8AC3E}">
        <p14:creationId xmlns:p14="http://schemas.microsoft.com/office/powerpoint/2010/main" val="78913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073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6"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800" dirty="0" err="1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521" y="210750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Top Keywords with Star Ratings (Compensation &amp; Benefits)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2</a:t>
            </a:fld>
            <a:endParaRPr lang="en-US" dirty="0"/>
          </a:p>
        </p:txBody>
      </p:sp>
      <p:graphicFrame>
        <p:nvGraphicFramePr>
          <p:cNvPr id="30" name="Chart 29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6017874"/>
              </p:ext>
            </p:extLst>
          </p:nvPr>
        </p:nvGraphicFramePr>
        <p:xfrm>
          <a:off x="468313" y="1049338"/>
          <a:ext cx="2765425" cy="1674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5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835275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8B664E15-C602-4590-9EF3-E36578F677B7}" type="datetime'1'' ''''''''''''''''S''''''''''''''''''''''t''a''r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 Star</a:t>
            </a:fld>
            <a:endParaRPr lang="en-US" sz="800" dirty="0">
              <a:sym typeface="+mn-lt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795463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8898885-1314-411C-BFCC-461D9C58A109}" type="datetime'3 ''''''''S''''t''''''''''''''a''''''''''''r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 Star</a:t>
            </a:fld>
            <a:endParaRPr lang="en-US" sz="800" dirty="0"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276350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BE7245D2-C8EB-4727-9C5A-174D43D0C614}" type="datetime'''4'''''''''''''''''''' ''''''''''''''''''''S''''t''ar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 Star</a:t>
            </a:fld>
            <a:endParaRPr lang="en-US" sz="800" dirty="0"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55650" y="2674938"/>
            <a:ext cx="109538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D98A679-08C8-43E3-81F7-0E0F9A64B84D}" type="datetime'''''''''''''''5'''''''' ''''S''''''''''''''t''''''a''''r''t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 Start</a:t>
            </a:fld>
            <a:endParaRPr lang="en-US" sz="800" dirty="0">
              <a:sym typeface="+mn-lt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316163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00AC0CCE-8892-4944-B970-FD63F8C90E90}" type="datetime'''''''''''''2'''' ''''''S''tar''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 Star</a:t>
            </a:fld>
            <a:endParaRPr lang="en-US" sz="800" dirty="0">
              <a:sym typeface="+mn-lt"/>
            </a:endParaRPr>
          </a:p>
        </p:txBody>
      </p:sp>
      <p:sp>
        <p:nvSpPr>
          <p:cNvPr id="52" name="TextBox 32"/>
          <p:cNvSpPr txBox="1"/>
          <p:nvPr/>
        </p:nvSpPr>
        <p:spPr>
          <a:xfrm>
            <a:off x="4063293" y="889000"/>
            <a:ext cx="324793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5 Star ratings</a:t>
            </a:r>
          </a:p>
          <a:p>
            <a:r>
              <a:rPr lang="en-US" sz="1400" b="1" dirty="0" smtClean="0">
                <a:solidFill>
                  <a:srgbClr val="00B050"/>
                </a:solidFill>
              </a:rPr>
              <a:t>(In Pros)</a:t>
            </a:r>
          </a:p>
          <a:p>
            <a:endParaRPr lang="en-US" sz="1400" b="1" dirty="0">
              <a:solidFill>
                <a:srgbClr val="00B050"/>
              </a:solidFill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Environment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reat benefits 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ay</a:t>
            </a:r>
          </a:p>
          <a:p>
            <a:endParaRPr lang="en-US" sz="1200" dirty="0" smtClean="0">
              <a:latin typeface="Arial (Body)"/>
            </a:endParaRPr>
          </a:p>
        </p:txBody>
      </p:sp>
      <p:sp>
        <p:nvSpPr>
          <p:cNvPr id="53" name="TextBox 32"/>
          <p:cNvSpPr txBox="1"/>
          <p:nvPr/>
        </p:nvSpPr>
        <p:spPr>
          <a:xfrm>
            <a:off x="7903399" y="885825"/>
            <a:ext cx="3247936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4 Star ratings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Pros</a:t>
            </a:r>
            <a:r>
              <a:rPr lang="en-US" sz="1400" b="1" dirty="0" smtClean="0">
                <a:solidFill>
                  <a:srgbClr val="00B050"/>
                </a:solidFill>
              </a:rPr>
              <a:t>)</a:t>
            </a:r>
          </a:p>
          <a:p>
            <a:endParaRPr lang="en-US" sz="1400" dirty="0">
              <a:solidFill>
                <a:srgbClr val="00B050"/>
              </a:solidFill>
            </a:endParaRP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Work </a:t>
            </a:r>
            <a:r>
              <a:rPr lang="en-US" sz="1400" dirty="0" smtClean="0">
                <a:latin typeface="Arial (Body)"/>
              </a:rPr>
              <a:t>Life balance</a:t>
            </a:r>
            <a:endParaRPr lang="en-US" sz="14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ay</a:t>
            </a:r>
            <a:endParaRPr lang="en-US" sz="14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Benefits</a:t>
            </a:r>
            <a:endParaRPr lang="en-US" sz="14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</a:t>
            </a:r>
            <a:endParaRPr lang="en-US" sz="14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environment</a:t>
            </a:r>
          </a:p>
          <a:p>
            <a:endParaRPr lang="en-US" sz="1200" dirty="0" smtClean="0">
              <a:latin typeface="Arial (Body)"/>
            </a:endParaRPr>
          </a:p>
          <a:p>
            <a:endParaRPr lang="en-US" sz="1200" dirty="0">
              <a:latin typeface="Arial (Body)"/>
            </a:endParaRPr>
          </a:p>
        </p:txBody>
      </p:sp>
      <p:sp>
        <p:nvSpPr>
          <p:cNvPr id="54" name="TextBox 32"/>
          <p:cNvSpPr txBox="1"/>
          <p:nvPr/>
        </p:nvSpPr>
        <p:spPr>
          <a:xfrm>
            <a:off x="1329458" y="3891779"/>
            <a:ext cx="3247936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3 Star ratings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Pros</a:t>
            </a:r>
            <a:r>
              <a:rPr lang="en-US" sz="1400" b="1" dirty="0" smtClean="0">
                <a:solidFill>
                  <a:srgbClr val="00B050"/>
                </a:solidFill>
              </a:rPr>
              <a:t>)</a:t>
            </a: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Environment 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Company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Benefits</a:t>
            </a:r>
          </a:p>
          <a:p>
            <a:endParaRPr lang="en-US" sz="1200" dirty="0" smtClean="0">
              <a:latin typeface="Arial (Body)"/>
            </a:endParaRPr>
          </a:p>
        </p:txBody>
      </p:sp>
      <p:sp>
        <p:nvSpPr>
          <p:cNvPr id="56" name="TextBox 32"/>
          <p:cNvSpPr txBox="1"/>
          <p:nvPr/>
        </p:nvSpPr>
        <p:spPr>
          <a:xfrm>
            <a:off x="4946799" y="3891782"/>
            <a:ext cx="3247936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2 Star ratings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Pros</a:t>
            </a:r>
            <a:r>
              <a:rPr lang="en-US" sz="1400" b="1" dirty="0" smtClean="0">
                <a:solidFill>
                  <a:srgbClr val="00B050"/>
                </a:solidFill>
              </a:rPr>
              <a:t>)</a:t>
            </a: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Benefits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Company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environment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</a:t>
            </a:r>
          </a:p>
          <a:p>
            <a:endParaRPr lang="en-US" sz="1200" dirty="0" smtClean="0">
              <a:latin typeface="Arial (Body)"/>
            </a:endParaRPr>
          </a:p>
          <a:p>
            <a:endParaRPr lang="en-US" sz="1200" dirty="0">
              <a:latin typeface="Arial (Body)"/>
            </a:endParaRPr>
          </a:p>
          <a:p>
            <a:endParaRPr lang="en-US" sz="1200" dirty="0">
              <a:latin typeface="Arial (Body)"/>
            </a:endParaRPr>
          </a:p>
        </p:txBody>
      </p:sp>
      <p:sp>
        <p:nvSpPr>
          <p:cNvPr id="57" name="TextBox 32"/>
          <p:cNvSpPr txBox="1"/>
          <p:nvPr/>
        </p:nvSpPr>
        <p:spPr>
          <a:xfrm>
            <a:off x="8542355" y="3891782"/>
            <a:ext cx="3247936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1 Star ratings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Pros)</a:t>
            </a: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Benefits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environment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culture</a:t>
            </a:r>
          </a:p>
          <a:p>
            <a:endParaRPr lang="en-US" sz="1200" dirty="0" smtClean="0">
              <a:latin typeface="Arial (Body)"/>
            </a:endParaRPr>
          </a:p>
          <a:p>
            <a:endParaRPr lang="en-US" sz="1200" dirty="0" smtClean="0">
              <a:latin typeface="Arial (Body)"/>
            </a:endParaRPr>
          </a:p>
        </p:txBody>
      </p:sp>
    </p:spTree>
    <p:extLst>
      <p:ext uri="{BB962C8B-B14F-4D97-AF65-F5344CB8AC3E}">
        <p14:creationId xmlns:p14="http://schemas.microsoft.com/office/powerpoint/2010/main" val="1520529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849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1"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800" dirty="0" err="1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521" y="210750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Top Keywords with Star Ratings (Culture and Value)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3</a:t>
            </a:fld>
            <a:endParaRPr lang="en-US" dirty="0"/>
          </a:p>
        </p:txBody>
      </p:sp>
      <p:graphicFrame>
        <p:nvGraphicFramePr>
          <p:cNvPr id="22" name="Chart 21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01562972"/>
              </p:ext>
            </p:extLst>
          </p:nvPr>
        </p:nvGraphicFramePr>
        <p:xfrm>
          <a:off x="468313" y="1049338"/>
          <a:ext cx="2765425" cy="1674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5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835275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8B664E15-C602-4590-9EF3-E36578F677B7}" type="datetime'1'' ''''''''''''''''S''''''''''''''''''''''t''a''r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 Star</a:t>
            </a:fld>
            <a:endParaRPr lang="en-US" sz="800" dirty="0"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55650" y="2674938"/>
            <a:ext cx="109538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D98A679-08C8-43E3-81F7-0E0F9A64B84D}" type="datetime'''''''''''''''5'''''''' ''''S''''''''''''''t''''''a''''r''t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 Start</a:t>
            </a:fld>
            <a:endParaRPr lang="en-US" sz="800" dirty="0"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276350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BE7245D2-C8EB-4727-9C5A-174D43D0C614}" type="datetime'''4'''''''''''''''''''' ''''''''''''''''''''S''''t''ar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 Star</a:t>
            </a:fld>
            <a:endParaRPr lang="en-US" sz="800" dirty="0">
              <a:sym typeface="+mn-lt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795463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8898885-1314-411C-BFCC-461D9C58A109}" type="datetime'3 ''''''''S''''t''''''''''''''a''''''''''''r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 Star</a:t>
            </a:fld>
            <a:endParaRPr lang="en-US" sz="800" dirty="0">
              <a:sym typeface="+mn-lt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316163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00AC0CCE-8892-4944-B970-FD63F8C90E90}" type="datetime'''''''''''''2'''' ''''''S''tar''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 Star</a:t>
            </a:fld>
            <a:endParaRPr lang="en-US" sz="800" dirty="0">
              <a:sym typeface="+mn-lt"/>
            </a:endParaRPr>
          </a:p>
        </p:txBody>
      </p:sp>
      <p:sp>
        <p:nvSpPr>
          <p:cNvPr id="52" name="TextBox 32"/>
          <p:cNvSpPr txBox="1"/>
          <p:nvPr/>
        </p:nvSpPr>
        <p:spPr>
          <a:xfrm>
            <a:off x="4063293" y="889000"/>
            <a:ext cx="324793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5 Star ratings</a:t>
            </a:r>
          </a:p>
          <a:p>
            <a:r>
              <a:rPr lang="en-US" sz="1400" b="1" dirty="0" smtClean="0">
                <a:solidFill>
                  <a:srgbClr val="00B050"/>
                </a:solidFill>
              </a:rPr>
              <a:t>(In Pros)</a:t>
            </a:r>
          </a:p>
          <a:p>
            <a:endParaRPr lang="en-US" sz="1400" b="1" dirty="0">
              <a:solidFill>
                <a:srgbClr val="00B050"/>
              </a:solidFill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</a:t>
            </a:r>
            <a:r>
              <a:rPr lang="en-US" sz="1400" dirty="0">
                <a:latin typeface="Arial (Body)"/>
              </a:rPr>
              <a:t>l</a:t>
            </a:r>
            <a:r>
              <a:rPr lang="en-US" sz="1400" dirty="0" smtClean="0">
                <a:latin typeface="Arial (Body)"/>
              </a:rPr>
              <a:t>ife </a:t>
            </a:r>
            <a:r>
              <a:rPr lang="en-US" sz="1400" dirty="0">
                <a:latin typeface="Arial (Body)"/>
              </a:rPr>
              <a:t>b</a:t>
            </a:r>
            <a:r>
              <a:rPr lang="en-US" sz="1400" dirty="0" smtClean="0">
                <a:latin typeface="Arial (Body)"/>
              </a:rPr>
              <a:t>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 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environment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cultur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lace to work</a:t>
            </a:r>
          </a:p>
          <a:p>
            <a:endParaRPr lang="en-US" sz="1200" dirty="0" smtClean="0">
              <a:latin typeface="Arial (Body)"/>
            </a:endParaRPr>
          </a:p>
        </p:txBody>
      </p:sp>
      <p:sp>
        <p:nvSpPr>
          <p:cNvPr id="53" name="TextBox 32"/>
          <p:cNvSpPr txBox="1"/>
          <p:nvPr/>
        </p:nvSpPr>
        <p:spPr>
          <a:xfrm>
            <a:off x="7903399" y="885825"/>
            <a:ext cx="3247936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4 Star ratings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Pros</a:t>
            </a:r>
            <a:r>
              <a:rPr lang="en-US" sz="1400" b="1" dirty="0" smtClean="0">
                <a:solidFill>
                  <a:srgbClr val="00B050"/>
                </a:solidFill>
              </a:rPr>
              <a:t>)</a:t>
            </a:r>
          </a:p>
          <a:p>
            <a:endParaRPr lang="en-US" sz="1400" dirty="0">
              <a:solidFill>
                <a:srgbClr val="00B050"/>
              </a:solidFill>
            </a:endParaRP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Work </a:t>
            </a:r>
            <a:r>
              <a:rPr lang="en-US" sz="1400" dirty="0" smtClean="0">
                <a:latin typeface="Arial (Body)"/>
              </a:rPr>
              <a:t>Life balance</a:t>
            </a:r>
            <a:endParaRPr lang="en-US" sz="14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 culture</a:t>
            </a:r>
            <a:endParaRPr lang="en-US" sz="14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ay</a:t>
            </a:r>
            <a:endParaRPr lang="en-US" sz="14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environment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benefits</a:t>
            </a:r>
          </a:p>
          <a:p>
            <a:endParaRPr lang="en-US" sz="1200" dirty="0" smtClean="0">
              <a:latin typeface="Arial (Body)"/>
            </a:endParaRPr>
          </a:p>
          <a:p>
            <a:endParaRPr lang="en-US" sz="1200" dirty="0">
              <a:latin typeface="Arial (Body)"/>
            </a:endParaRPr>
          </a:p>
        </p:txBody>
      </p:sp>
      <p:sp>
        <p:nvSpPr>
          <p:cNvPr id="54" name="TextBox 32"/>
          <p:cNvSpPr txBox="1"/>
          <p:nvPr/>
        </p:nvSpPr>
        <p:spPr>
          <a:xfrm>
            <a:off x="1329458" y="3891779"/>
            <a:ext cx="3247936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3 Star ratings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Pros</a:t>
            </a:r>
            <a:r>
              <a:rPr lang="en-US" sz="1400" b="1" dirty="0" smtClean="0">
                <a:solidFill>
                  <a:srgbClr val="00B050"/>
                </a:solidFill>
              </a:rPr>
              <a:t>)</a:t>
            </a: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Benefits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ay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 environment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reat people</a:t>
            </a:r>
          </a:p>
          <a:p>
            <a:endParaRPr lang="en-US" sz="1200" dirty="0" smtClean="0">
              <a:latin typeface="Arial (Body)"/>
            </a:endParaRPr>
          </a:p>
        </p:txBody>
      </p:sp>
      <p:sp>
        <p:nvSpPr>
          <p:cNvPr id="56" name="TextBox 32"/>
          <p:cNvSpPr txBox="1"/>
          <p:nvPr/>
        </p:nvSpPr>
        <p:spPr>
          <a:xfrm>
            <a:off x="4946799" y="3891782"/>
            <a:ext cx="3247936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2 Star ratings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Pros</a:t>
            </a:r>
            <a:r>
              <a:rPr lang="en-US" sz="1400" b="1" dirty="0" smtClean="0">
                <a:solidFill>
                  <a:srgbClr val="00B050"/>
                </a:solidFill>
              </a:rPr>
              <a:t>)</a:t>
            </a: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ay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Benefits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Flexible working hours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reat work</a:t>
            </a:r>
          </a:p>
          <a:p>
            <a:endParaRPr lang="en-US" sz="1200" dirty="0" smtClean="0">
              <a:latin typeface="Arial (Body)"/>
            </a:endParaRPr>
          </a:p>
          <a:p>
            <a:endParaRPr lang="en-US" sz="1200" dirty="0">
              <a:latin typeface="Arial (Body)"/>
            </a:endParaRPr>
          </a:p>
          <a:p>
            <a:endParaRPr lang="en-US" sz="1200" dirty="0">
              <a:latin typeface="Arial (Body)"/>
            </a:endParaRPr>
          </a:p>
        </p:txBody>
      </p:sp>
      <p:sp>
        <p:nvSpPr>
          <p:cNvPr id="57" name="TextBox 32"/>
          <p:cNvSpPr txBox="1"/>
          <p:nvPr/>
        </p:nvSpPr>
        <p:spPr>
          <a:xfrm>
            <a:off x="8542355" y="3891782"/>
            <a:ext cx="3247936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1 Star ratings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Pros)</a:t>
            </a: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Benefits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lace to work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from home</a:t>
            </a:r>
          </a:p>
          <a:p>
            <a:endParaRPr lang="en-US" sz="1200" dirty="0" smtClean="0">
              <a:latin typeface="Arial (Body)"/>
            </a:endParaRPr>
          </a:p>
          <a:p>
            <a:endParaRPr lang="en-US" sz="1200" dirty="0" smtClean="0">
              <a:latin typeface="Arial (Body)"/>
            </a:endParaRPr>
          </a:p>
        </p:txBody>
      </p:sp>
    </p:spTree>
    <p:extLst>
      <p:ext uri="{BB962C8B-B14F-4D97-AF65-F5344CB8AC3E}">
        <p14:creationId xmlns:p14="http://schemas.microsoft.com/office/powerpoint/2010/main" val="3166839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4591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521" y="210750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Analysis on advise to Management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4</a:t>
            </a:fld>
            <a:endParaRPr lang="en-US" dirty="0"/>
          </a:p>
        </p:txBody>
      </p:sp>
      <p:sp>
        <p:nvSpPr>
          <p:cNvPr id="54" name="TextBox 32"/>
          <p:cNvSpPr txBox="1"/>
          <p:nvPr/>
        </p:nvSpPr>
        <p:spPr>
          <a:xfrm>
            <a:off x="693732" y="1232218"/>
            <a:ext cx="324793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</a:t>
            </a:r>
            <a:r>
              <a:rPr lang="en-US" sz="1600" b="1" dirty="0" smtClean="0">
                <a:latin typeface="Arial (Body)"/>
              </a:rPr>
              <a:t>Advise to Management – </a:t>
            </a:r>
            <a:endParaRPr lang="en-US" sz="1600" b="1" dirty="0" smtClean="0">
              <a:latin typeface="Arial (Body)"/>
            </a:endParaRPr>
          </a:p>
          <a:p>
            <a:r>
              <a:rPr lang="en-US" sz="1400" b="1" dirty="0">
                <a:solidFill>
                  <a:srgbClr val="00B050"/>
                </a:solidFill>
              </a:rPr>
              <a:t>(In Pros</a:t>
            </a:r>
            <a:r>
              <a:rPr lang="en-US" sz="1400" b="1" dirty="0" smtClean="0">
                <a:solidFill>
                  <a:srgbClr val="00B050"/>
                </a:solidFill>
              </a:rPr>
              <a:t>)</a:t>
            </a: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Benefits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ay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 environment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reat people</a:t>
            </a:r>
          </a:p>
          <a:p>
            <a:endParaRPr lang="en-US" sz="1200" dirty="0" smtClean="0">
              <a:latin typeface="Arial (Body)"/>
            </a:endParaRPr>
          </a:p>
        </p:txBody>
      </p:sp>
      <p:sp>
        <p:nvSpPr>
          <p:cNvPr id="17" name="TextBox 32"/>
          <p:cNvSpPr txBox="1"/>
          <p:nvPr/>
        </p:nvSpPr>
        <p:spPr>
          <a:xfrm>
            <a:off x="6056961" y="1232217"/>
            <a:ext cx="324793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</a:t>
            </a:r>
            <a:r>
              <a:rPr lang="en-US" sz="1600" b="1" dirty="0" smtClean="0">
                <a:latin typeface="Arial (Body)"/>
              </a:rPr>
              <a:t>Advise to Management – </a:t>
            </a:r>
            <a:endParaRPr lang="en-US" sz="1600" b="1" dirty="0" smtClean="0">
              <a:latin typeface="Arial (Body)"/>
            </a:endParaRPr>
          </a:p>
          <a:p>
            <a:r>
              <a:rPr lang="en-US" sz="1400" b="1" dirty="0">
                <a:solidFill>
                  <a:srgbClr val="00B050"/>
                </a:solidFill>
              </a:rPr>
              <a:t>(In </a:t>
            </a:r>
            <a:r>
              <a:rPr lang="en-US" sz="1400" b="1" dirty="0" smtClean="0">
                <a:solidFill>
                  <a:srgbClr val="00B050"/>
                </a:solidFill>
              </a:rPr>
              <a:t>Cons)</a:t>
            </a:r>
            <a:endParaRPr lang="en-US" sz="1400" b="1" dirty="0" smtClean="0">
              <a:solidFill>
                <a:srgbClr val="00B050"/>
              </a:solidFill>
            </a:endParaRP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Benefits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ay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 environment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reat people</a:t>
            </a:r>
          </a:p>
          <a:p>
            <a:endParaRPr lang="en-US" sz="1200" dirty="0" smtClean="0">
              <a:latin typeface="Arial (Body)"/>
            </a:endParaRPr>
          </a:p>
        </p:txBody>
      </p:sp>
    </p:spTree>
    <p:extLst>
      <p:ext uri="{BB962C8B-B14F-4D97-AF65-F5344CB8AC3E}">
        <p14:creationId xmlns:p14="http://schemas.microsoft.com/office/powerpoint/2010/main" val="1735619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2599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8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521" y="210750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US and India Employees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lik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5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472266" y="1345080"/>
            <a:ext cx="516218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Arial (Body)"/>
              </a:rPr>
              <a:t>What US Employees liked – </a:t>
            </a:r>
          </a:p>
          <a:p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Pay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Cultur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reat Benefits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Interesting Work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Work Hours</a:t>
            </a:r>
          </a:p>
        </p:txBody>
      </p:sp>
      <p:sp>
        <p:nvSpPr>
          <p:cNvPr id="18" name="TextBox 32"/>
          <p:cNvSpPr txBox="1"/>
          <p:nvPr/>
        </p:nvSpPr>
        <p:spPr>
          <a:xfrm>
            <a:off x="6628739" y="1368330"/>
            <a:ext cx="547618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hat US Employees didn’t liked </a:t>
            </a:r>
            <a:r>
              <a:rPr lang="en-US" b="1" dirty="0"/>
              <a:t>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/>
              <a:t>Growth</a:t>
            </a:r>
          </a:p>
          <a:p>
            <a:pPr marL="342900" indent="-342900">
              <a:buAutoNum type="arabicPeriod"/>
            </a:pPr>
            <a:r>
              <a:rPr lang="en-US" dirty="0" smtClean="0"/>
              <a:t>Work</a:t>
            </a:r>
          </a:p>
          <a:p>
            <a:pPr marL="342900" indent="-342900">
              <a:buAutoNum type="arabicPeriod"/>
            </a:pPr>
            <a:r>
              <a:rPr lang="en-US" dirty="0" smtClean="0"/>
              <a:t>Politics</a:t>
            </a:r>
            <a:endParaRPr lang="en-US" sz="1600" dirty="0"/>
          </a:p>
          <a:p>
            <a:pPr marL="342900" indent="-342900">
              <a:buAutoNum type="arabicPeriod"/>
            </a:pPr>
            <a:r>
              <a:rPr lang="en-US" dirty="0" smtClean="0"/>
              <a:t>Leadership</a:t>
            </a:r>
          </a:p>
          <a:p>
            <a:pPr marL="342900" indent="-342900">
              <a:buAutoNum type="arabicPeriod"/>
            </a:pPr>
            <a:r>
              <a:rPr lang="en-US" dirty="0" smtClean="0"/>
              <a:t>Opportunities</a:t>
            </a:r>
          </a:p>
          <a:p>
            <a:pPr marL="342900" indent="-342900">
              <a:buAutoNum type="arabicPeriod"/>
            </a:pPr>
            <a:r>
              <a:rPr lang="en-US" dirty="0" smtClean="0"/>
              <a:t>Promotions</a:t>
            </a:r>
            <a:endParaRPr lang="en-US" dirty="0"/>
          </a:p>
        </p:txBody>
      </p:sp>
      <p:sp>
        <p:nvSpPr>
          <p:cNvPr id="11" name="TextBox 32"/>
          <p:cNvSpPr txBox="1"/>
          <p:nvPr/>
        </p:nvSpPr>
        <p:spPr>
          <a:xfrm>
            <a:off x="472265" y="3855319"/>
            <a:ext cx="516218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Arial (Body)"/>
              </a:rPr>
              <a:t>What India Employees liked – </a:t>
            </a:r>
          </a:p>
          <a:p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Working Environment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Cultur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Less Work Pressur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Transport Facility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Pay</a:t>
            </a:r>
            <a:endParaRPr lang="en-US" dirty="0">
              <a:latin typeface="Arial (Body)"/>
            </a:endParaRPr>
          </a:p>
        </p:txBody>
      </p:sp>
      <p:sp>
        <p:nvSpPr>
          <p:cNvPr id="12" name="TextBox 32"/>
          <p:cNvSpPr txBox="1"/>
          <p:nvPr/>
        </p:nvSpPr>
        <p:spPr>
          <a:xfrm>
            <a:off x="6628738" y="3855319"/>
            <a:ext cx="547618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hat India Employees didn’t liked </a:t>
            </a:r>
            <a:r>
              <a:rPr lang="en-US" b="1" dirty="0"/>
              <a:t>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/>
              <a:t>Not Enough Opportunities </a:t>
            </a:r>
          </a:p>
          <a:p>
            <a:pPr marL="342900" indent="-342900">
              <a:buAutoNum type="arabicPeriod"/>
            </a:pPr>
            <a:r>
              <a:rPr lang="en-US" dirty="0" smtClean="0"/>
              <a:t>Slow Career / Growth opportunity</a:t>
            </a:r>
          </a:p>
          <a:p>
            <a:pPr marL="342900" indent="-342900">
              <a:buAutoNum type="arabicPeriod"/>
            </a:pPr>
            <a:r>
              <a:rPr lang="en-US" dirty="0" smtClean="0"/>
              <a:t>Promotion</a:t>
            </a:r>
            <a:endParaRPr lang="en-US" dirty="0"/>
          </a:p>
          <a:p>
            <a:pPr marL="342900" indent="-342900">
              <a:buAutoNum type="arabicPeriod"/>
            </a:pPr>
            <a:r>
              <a:rPr lang="en-US" dirty="0" smtClean="0"/>
              <a:t>Monotonous work</a:t>
            </a:r>
            <a:endParaRPr lang="en-US" dirty="0"/>
          </a:p>
          <a:p>
            <a:pPr marL="342900" indent="-342900">
              <a:buAutoNum type="arabicPeriod"/>
            </a:pPr>
            <a:r>
              <a:rPr lang="en-US" dirty="0" smtClean="0"/>
              <a:t>Training</a:t>
            </a:r>
          </a:p>
          <a:p>
            <a:pPr marL="342900" indent="-342900">
              <a:buAutoNum type="arabicPeriod"/>
            </a:pPr>
            <a:r>
              <a:rPr lang="en-US" dirty="0" smtClean="0"/>
              <a:t>Night Sh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663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4326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2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8"/>
            <a:ext cx="11358880" cy="464058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satisfaction for all Divi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6</a:t>
            </a:fld>
            <a:endParaRPr lang="en-US" dirty="0"/>
          </a:p>
        </p:txBody>
      </p:sp>
      <p:sp>
        <p:nvSpPr>
          <p:cNvPr id="24" name="TextBox 32"/>
          <p:cNvSpPr txBox="1"/>
          <p:nvPr/>
        </p:nvSpPr>
        <p:spPr>
          <a:xfrm>
            <a:off x="671605" y="845588"/>
            <a:ext cx="31670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Overall Satisfaction in MI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1" name="TextBox 32"/>
          <p:cNvSpPr txBox="1"/>
          <p:nvPr/>
        </p:nvSpPr>
        <p:spPr>
          <a:xfrm>
            <a:off x="4656795" y="845588"/>
            <a:ext cx="30785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Overall Satisfaction in </a:t>
            </a:r>
            <a:r>
              <a:rPr lang="en-US" sz="1200" b="1" dirty="0" err="1" smtClean="0">
                <a:solidFill>
                  <a:srgbClr val="FF0000"/>
                </a:solidFill>
                <a:latin typeface="Arial (Body)"/>
              </a:rPr>
              <a:t>Platt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4" name="TextBox 32"/>
          <p:cNvSpPr txBox="1"/>
          <p:nvPr/>
        </p:nvSpPr>
        <p:spPr>
          <a:xfrm>
            <a:off x="8848199" y="845588"/>
            <a:ext cx="27158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Overall Satisfaction in DJI</a:t>
            </a:r>
          </a:p>
        </p:txBody>
      </p:sp>
      <p:sp>
        <p:nvSpPr>
          <p:cNvPr id="36" name="TextBox 32"/>
          <p:cNvSpPr txBox="1"/>
          <p:nvPr/>
        </p:nvSpPr>
        <p:spPr>
          <a:xfrm>
            <a:off x="4738339" y="3572303"/>
            <a:ext cx="34335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Overall Satisfaction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in Rating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1605" y="1227444"/>
            <a:ext cx="3167087" cy="213714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06849" y="1184236"/>
            <a:ext cx="3291402" cy="222355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66408" y="1227444"/>
            <a:ext cx="2974047" cy="218096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32709" y="4011374"/>
            <a:ext cx="3524213" cy="2411681"/>
          </a:xfrm>
          <a:prstGeom prst="rect">
            <a:avLst/>
          </a:prstGeom>
        </p:spPr>
      </p:pic>
      <p:sp>
        <p:nvSpPr>
          <p:cNvPr id="27" name="Title 1"/>
          <p:cNvSpPr txBox="1">
            <a:spLocks/>
          </p:cNvSpPr>
          <p:nvPr/>
        </p:nvSpPr>
        <p:spPr>
          <a:xfrm>
            <a:off x="8171936" y="6331755"/>
            <a:ext cx="3533366" cy="526243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D6002A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000" b="0" dirty="0" smtClean="0">
                <a:solidFill>
                  <a:schemeClr val="tx1"/>
                </a:solidFill>
              </a:rPr>
              <a:t>* For Employees over all satisfaction MI and Ratings divisions saw an increase, </a:t>
            </a:r>
            <a:r>
              <a:rPr lang="en-US" sz="1000" b="0" dirty="0" err="1" smtClean="0">
                <a:solidFill>
                  <a:schemeClr val="tx1"/>
                </a:solidFill>
              </a:rPr>
              <a:t>Platts</a:t>
            </a:r>
            <a:r>
              <a:rPr lang="en-US" sz="1000" b="0" dirty="0" smtClean="0">
                <a:solidFill>
                  <a:schemeClr val="tx1"/>
                </a:solidFill>
              </a:rPr>
              <a:t> shows a constant and DJI shows negative trend.</a:t>
            </a:r>
            <a:endParaRPr lang="en-US" sz="10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0465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6353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4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521" y="210750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Employees liked (based on each division)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7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1234027" y="990852"/>
            <a:ext cx="347464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Arial (Body)"/>
              </a:rPr>
              <a:t>What MI Employees liked – </a:t>
            </a:r>
          </a:p>
          <a:p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Work Cultur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reat Benefits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Work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Peopl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Opportunities</a:t>
            </a:r>
          </a:p>
        </p:txBody>
      </p:sp>
      <p:sp>
        <p:nvSpPr>
          <p:cNvPr id="18" name="TextBox 32"/>
          <p:cNvSpPr txBox="1"/>
          <p:nvPr/>
        </p:nvSpPr>
        <p:spPr>
          <a:xfrm>
            <a:off x="6628738" y="990852"/>
            <a:ext cx="361913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latin typeface="Arial (Body)"/>
              </a:rPr>
              <a:t>What </a:t>
            </a:r>
            <a:r>
              <a:rPr lang="en-US" b="1" dirty="0" err="1" smtClean="0"/>
              <a:t>Platts</a:t>
            </a:r>
            <a:r>
              <a:rPr lang="en-US" b="1" dirty="0" smtClean="0"/>
              <a:t> Employees liked </a:t>
            </a:r>
            <a:r>
              <a:rPr lang="en-US" b="1" dirty="0"/>
              <a:t>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FontTx/>
              <a:buAutoNum type="arabicPeriod"/>
            </a:pPr>
            <a:r>
              <a:rPr lang="en-US" dirty="0" smtClean="0">
                <a:latin typeface="Arial (Body)"/>
              </a:rPr>
              <a:t>Good Benefits</a:t>
            </a:r>
            <a:endParaRPr lang="en-US" dirty="0" smtClean="0"/>
          </a:p>
          <a:p>
            <a:pPr marL="342900" indent="-342900">
              <a:buAutoNum type="arabicPeriod"/>
            </a:pPr>
            <a:r>
              <a:rPr lang="en-US" dirty="0" smtClean="0"/>
              <a:t>Good Work life balance</a:t>
            </a:r>
          </a:p>
          <a:p>
            <a:pPr marL="342900" indent="-342900">
              <a:buAutoNum type="arabicPeriod"/>
            </a:pPr>
            <a:r>
              <a:rPr lang="en-US" dirty="0" smtClean="0"/>
              <a:t>Good Work</a:t>
            </a:r>
            <a:endParaRPr lang="en-US" sz="1600" dirty="0"/>
          </a:p>
          <a:p>
            <a:pPr marL="342900" indent="-342900">
              <a:buAutoNum type="arabicPeriod"/>
            </a:pPr>
            <a:r>
              <a:rPr lang="en-US" dirty="0" smtClean="0"/>
              <a:t>Smart People</a:t>
            </a:r>
          </a:p>
          <a:p>
            <a:pPr marL="342900" indent="-342900">
              <a:buAutoNum type="arabicPeriod"/>
            </a:pPr>
            <a:r>
              <a:rPr lang="en-US" dirty="0" smtClean="0"/>
              <a:t>Flexible timings</a:t>
            </a:r>
          </a:p>
        </p:txBody>
      </p:sp>
      <p:sp>
        <p:nvSpPr>
          <p:cNvPr id="10" name="TextBox 32"/>
          <p:cNvSpPr txBox="1"/>
          <p:nvPr/>
        </p:nvSpPr>
        <p:spPr>
          <a:xfrm>
            <a:off x="1229905" y="3919403"/>
            <a:ext cx="347464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latin typeface="Arial (Body)"/>
              </a:rPr>
              <a:t>What DJI </a:t>
            </a:r>
            <a:r>
              <a:rPr lang="en-US" b="1" dirty="0" smtClean="0">
                <a:latin typeface="Arial (Body)"/>
              </a:rPr>
              <a:t>Employees liked – </a:t>
            </a:r>
          </a:p>
          <a:p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Benefits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Work Life Balanc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Company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Interns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Professional Peopl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lobally renown company</a:t>
            </a:r>
          </a:p>
        </p:txBody>
      </p:sp>
      <p:sp>
        <p:nvSpPr>
          <p:cNvPr id="14" name="TextBox 32"/>
          <p:cNvSpPr txBox="1"/>
          <p:nvPr/>
        </p:nvSpPr>
        <p:spPr>
          <a:xfrm>
            <a:off x="6624615" y="3919403"/>
            <a:ext cx="379624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latin typeface="Arial (Body)"/>
              </a:rPr>
              <a:t>What </a:t>
            </a:r>
            <a:r>
              <a:rPr lang="en-US" b="1" dirty="0" smtClean="0"/>
              <a:t>Ratings Employees liked </a:t>
            </a:r>
            <a:r>
              <a:rPr lang="en-US" b="1" dirty="0"/>
              <a:t>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Benefits 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Work </a:t>
            </a:r>
            <a:r>
              <a:rPr lang="en-US" dirty="0">
                <a:latin typeface="Arial (Body)"/>
              </a:rPr>
              <a:t>Life Balance</a:t>
            </a:r>
          </a:p>
          <a:p>
            <a:pPr marL="342900" indent="-342900">
              <a:buAutoNum type="arabicPeriod"/>
            </a:pPr>
            <a:r>
              <a:rPr lang="en-US" dirty="0">
                <a:latin typeface="Arial (Body)"/>
              </a:rPr>
              <a:t>Good </a:t>
            </a:r>
            <a:r>
              <a:rPr lang="en-US" dirty="0" smtClean="0">
                <a:latin typeface="Arial (Body)"/>
              </a:rPr>
              <a:t>Company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Learning</a:t>
            </a:r>
            <a:endParaRPr lang="en-US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Interesting Work</a:t>
            </a:r>
            <a:endParaRPr lang="en-US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Work From Home</a:t>
            </a:r>
            <a:endParaRPr lang="en-US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Working hours</a:t>
            </a:r>
            <a:endParaRPr lang="en-US" dirty="0">
              <a:latin typeface="Arial (Body)"/>
            </a:endParaRPr>
          </a:p>
        </p:txBody>
      </p:sp>
    </p:spTree>
    <p:extLst>
      <p:ext uri="{BB962C8B-B14F-4D97-AF65-F5344CB8AC3E}">
        <p14:creationId xmlns:p14="http://schemas.microsoft.com/office/powerpoint/2010/main" val="1835303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0947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521" y="210750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Employees didn’t liked (based on each division)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8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889687" y="990852"/>
            <a:ext cx="381898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Arial (Body)"/>
              </a:rPr>
              <a:t>What MI Employees didn’t liked – </a:t>
            </a:r>
          </a:p>
          <a:p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rowth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Lack of Training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Monotonous Work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Bad Managers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Promotions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Salary</a:t>
            </a:r>
          </a:p>
        </p:txBody>
      </p:sp>
      <p:sp>
        <p:nvSpPr>
          <p:cNvPr id="18" name="TextBox 32"/>
          <p:cNvSpPr txBox="1"/>
          <p:nvPr/>
        </p:nvSpPr>
        <p:spPr>
          <a:xfrm>
            <a:off x="6628738" y="990852"/>
            <a:ext cx="424520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latin typeface="Arial (Body)"/>
              </a:rPr>
              <a:t>What </a:t>
            </a:r>
            <a:r>
              <a:rPr lang="en-US" b="1" dirty="0" err="1" smtClean="0"/>
              <a:t>Platts</a:t>
            </a:r>
            <a:r>
              <a:rPr lang="en-US" b="1" dirty="0" smtClean="0"/>
              <a:t> </a:t>
            </a:r>
            <a:r>
              <a:rPr lang="en-US" b="1" dirty="0">
                <a:latin typeface="Arial (Body)"/>
              </a:rPr>
              <a:t>Employees didn’t liked </a:t>
            </a:r>
            <a:r>
              <a:rPr lang="en-US" b="1" dirty="0" smtClean="0">
                <a:latin typeface="Arial (Body)"/>
              </a:rPr>
              <a:t>–</a:t>
            </a:r>
          </a:p>
          <a:p>
            <a:r>
              <a:rPr lang="en-US" b="1" dirty="0" smtClean="0">
                <a:latin typeface="Arial (Body)"/>
              </a:rPr>
              <a:t> </a:t>
            </a:r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/>
              <a:t>Long Hours</a:t>
            </a:r>
          </a:p>
          <a:p>
            <a:pPr marL="342900" indent="-342900">
              <a:buAutoNum type="arabicPeriod"/>
            </a:pPr>
            <a:r>
              <a:rPr lang="en-US" dirty="0" smtClean="0"/>
              <a:t>Political Manager</a:t>
            </a:r>
          </a:p>
          <a:p>
            <a:pPr marL="342900" indent="-342900">
              <a:buAutoNum type="arabicPeriod"/>
            </a:pPr>
            <a:r>
              <a:rPr lang="en-US" dirty="0" smtClean="0"/>
              <a:t>Career Progression</a:t>
            </a:r>
            <a:endParaRPr lang="en-US" sz="1600" dirty="0"/>
          </a:p>
          <a:p>
            <a:pPr marL="342900" indent="-342900">
              <a:buAutoNum type="arabicPeriod"/>
            </a:pPr>
            <a:r>
              <a:rPr lang="en-US" dirty="0" smtClean="0"/>
              <a:t>Leadership</a:t>
            </a:r>
          </a:p>
          <a:p>
            <a:pPr marL="342900" indent="-342900">
              <a:buAutoNum type="arabicPeriod"/>
            </a:pPr>
            <a:r>
              <a:rPr lang="en-US" dirty="0" smtClean="0"/>
              <a:t>Salary</a:t>
            </a:r>
          </a:p>
        </p:txBody>
      </p:sp>
      <p:sp>
        <p:nvSpPr>
          <p:cNvPr id="10" name="TextBox 32"/>
          <p:cNvSpPr txBox="1"/>
          <p:nvPr/>
        </p:nvSpPr>
        <p:spPr>
          <a:xfrm>
            <a:off x="889687" y="3828785"/>
            <a:ext cx="395416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Arial (Body)"/>
              </a:rPr>
              <a:t>What DJI</a:t>
            </a:r>
            <a:r>
              <a:rPr lang="en-US" b="1" dirty="0">
                <a:latin typeface="Arial (Body)"/>
              </a:rPr>
              <a:t> Employees didn’t liked – </a:t>
            </a:r>
            <a:endParaRPr lang="en-US" b="1" dirty="0" smtClean="0">
              <a:latin typeface="Arial (Body)"/>
            </a:endParaRPr>
          </a:p>
          <a:p>
            <a:endParaRPr lang="en-US" b="1" dirty="0" smtClean="0"/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Politics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Protected Management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Opportunities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Inequality in pay</a:t>
            </a:r>
          </a:p>
          <a:p>
            <a:pPr marL="342900" indent="-342900">
              <a:buAutoNum type="arabicPeriod"/>
            </a:pPr>
            <a:r>
              <a:rPr lang="en-US" dirty="0">
                <a:latin typeface="Arial (Body)"/>
              </a:rPr>
              <a:t>Squeaky wheel </a:t>
            </a:r>
          </a:p>
        </p:txBody>
      </p:sp>
      <p:sp>
        <p:nvSpPr>
          <p:cNvPr id="14" name="TextBox 32"/>
          <p:cNvSpPr txBox="1"/>
          <p:nvPr/>
        </p:nvSpPr>
        <p:spPr>
          <a:xfrm>
            <a:off x="6628737" y="3828785"/>
            <a:ext cx="448410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latin typeface="Arial (Body)"/>
              </a:rPr>
              <a:t>What </a:t>
            </a:r>
            <a:r>
              <a:rPr lang="en-US" b="1" dirty="0" smtClean="0"/>
              <a:t>Ratings </a:t>
            </a:r>
            <a:r>
              <a:rPr lang="en-US" b="1" dirty="0">
                <a:latin typeface="Arial (Body)"/>
              </a:rPr>
              <a:t>Employees didn’t liked – </a:t>
            </a:r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/>
              <a:t>Promotions</a:t>
            </a:r>
          </a:p>
          <a:p>
            <a:pPr marL="342900" indent="-342900">
              <a:buAutoNum type="arabicPeriod"/>
            </a:pPr>
            <a:r>
              <a:rPr lang="en-US" dirty="0" smtClean="0"/>
              <a:t>Process</a:t>
            </a:r>
          </a:p>
          <a:p>
            <a:pPr marL="342900" indent="-342900">
              <a:buAutoNum type="arabicPeriod"/>
            </a:pPr>
            <a:r>
              <a:rPr lang="en-US" dirty="0" smtClean="0"/>
              <a:t>Less training</a:t>
            </a:r>
            <a:endParaRPr lang="en-US" sz="1600" dirty="0"/>
          </a:p>
          <a:p>
            <a:pPr marL="342900" indent="-342900">
              <a:buAutoNum type="arabicPeriod"/>
            </a:pPr>
            <a:r>
              <a:rPr lang="en-US" dirty="0" smtClean="0"/>
              <a:t>Bonus</a:t>
            </a:r>
          </a:p>
          <a:p>
            <a:pPr marL="342900" indent="-342900">
              <a:buAutoNum type="arabicPeriod"/>
            </a:pPr>
            <a:r>
              <a:rPr lang="en-US" dirty="0" smtClean="0"/>
              <a:t>Salary</a:t>
            </a:r>
          </a:p>
          <a:p>
            <a:pPr marL="342900" indent="-342900">
              <a:buAutoNum type="arabicPeriod"/>
            </a:pPr>
            <a:r>
              <a:rPr lang="en-US" dirty="0" smtClean="0"/>
              <a:t>Analytical job without Analytical wo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1537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0840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9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542543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uture Work Opportunities	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nalysis of Exit surveys ( VIBE data ) and check “What Employees are talking”. Based on outcome of this analysis, we can measure similarities between both feedbacks.</a:t>
            </a:r>
          </a:p>
          <a:p>
            <a:endParaRPr lang="en-US" dirty="0" smtClean="0"/>
          </a:p>
          <a:p>
            <a:r>
              <a:rPr lang="en-US" dirty="0" smtClean="0"/>
              <a:t>Analysis of interview / recruitment experience.</a:t>
            </a:r>
          </a:p>
          <a:p>
            <a:endParaRPr lang="en-US" dirty="0" smtClean="0"/>
          </a:p>
          <a:p>
            <a:r>
              <a:rPr lang="en-US" dirty="0" smtClean="0"/>
              <a:t>EVP analysis and include different Social media channels like – S&amp;P Global Facebook Page, Twitter Feeds etc. </a:t>
            </a:r>
          </a:p>
          <a:p>
            <a:endParaRPr lang="en-US" dirty="0" smtClean="0"/>
          </a:p>
          <a:p>
            <a:r>
              <a:rPr lang="en-US" dirty="0" smtClean="0"/>
              <a:t>Similar analysis can be performed on the few topics like – onboarding, Movement, orientation, First 30 days experience etc. 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845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004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0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Executive Summary</a:t>
            </a:r>
          </a:p>
          <a:p>
            <a:r>
              <a:rPr lang="en-US" dirty="0" smtClean="0"/>
              <a:t>Overview </a:t>
            </a:r>
          </a:p>
          <a:p>
            <a:r>
              <a:rPr lang="en-US" dirty="0" smtClean="0"/>
              <a:t>Good Words about the Organization	</a:t>
            </a:r>
          </a:p>
          <a:p>
            <a:r>
              <a:rPr lang="en-US" dirty="0" smtClean="0"/>
              <a:t>3 Themes for Pros and Cons</a:t>
            </a:r>
          </a:p>
          <a:p>
            <a:r>
              <a:rPr lang="en-US" dirty="0"/>
              <a:t>What US and India Employees </a:t>
            </a:r>
            <a:r>
              <a:rPr lang="en-US" dirty="0" smtClean="0"/>
              <a:t>liked</a:t>
            </a:r>
          </a:p>
          <a:p>
            <a:r>
              <a:rPr lang="en-US" dirty="0"/>
              <a:t>Future Work Opportunities</a:t>
            </a:r>
          </a:p>
          <a:p>
            <a:r>
              <a:rPr lang="en-US" dirty="0" smtClean="0"/>
              <a:t>Appendix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44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748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9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692177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200" dirty="0" smtClean="0">
                <a:solidFill>
                  <a:schemeClr val="tx1"/>
                </a:solidFill>
              </a:rPr>
              <a:t>Appendix</a:t>
            </a:r>
            <a:r>
              <a:rPr lang="en-US" sz="3600" dirty="0" smtClean="0">
                <a:solidFill>
                  <a:schemeClr val="tx1"/>
                </a:solidFill>
              </a:rPr>
              <a:t/>
            </a:r>
            <a:br>
              <a:rPr lang="en-US" sz="3600" dirty="0" smtClean="0">
                <a:solidFill>
                  <a:schemeClr val="tx1"/>
                </a:solidFill>
              </a:rPr>
            </a:b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284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6913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4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s about the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MI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1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472266" y="924886"/>
            <a:ext cx="516218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Pros: </a:t>
            </a:r>
            <a:r>
              <a:rPr lang="en-US" b="1" dirty="0" smtClean="0"/>
              <a:t>Things which Employees liked – </a:t>
            </a:r>
          </a:p>
          <a:p>
            <a:endParaRPr lang="en-US" b="1" dirty="0"/>
          </a:p>
          <a:p>
            <a:r>
              <a:rPr lang="en-US" dirty="0" smtClean="0"/>
              <a:t>According to Employees feedback, we found out that people love our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Benefits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Work </a:t>
            </a:r>
            <a:r>
              <a:rPr lang="en-US" sz="1600" b="1" dirty="0">
                <a:solidFill>
                  <a:srgbClr val="00B050"/>
                </a:solidFill>
              </a:rPr>
              <a:t>Life Balance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Good Work Culture</a:t>
            </a:r>
            <a:r>
              <a:rPr lang="en-US" sz="1600" dirty="0" smtClean="0">
                <a:solidFill>
                  <a:srgbClr val="00B050"/>
                </a:solidFill>
              </a:rPr>
              <a:t>, </a:t>
            </a:r>
            <a:r>
              <a:rPr lang="en-US" sz="1600" b="1" dirty="0" smtClean="0">
                <a:solidFill>
                  <a:srgbClr val="00B050"/>
                </a:solidFill>
              </a:rPr>
              <a:t>Good People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00B050"/>
                </a:solidFill>
              </a:rPr>
              <a:t>Opportunities</a:t>
            </a:r>
            <a:r>
              <a:rPr lang="en-US" sz="1600" dirty="0" smtClean="0"/>
              <a:t> provided by S&amp;P and they are spreading good words on this front.</a:t>
            </a:r>
            <a:endParaRPr lang="en-US" dirty="0" smtClean="0"/>
          </a:p>
        </p:txBody>
      </p:sp>
      <p:sp>
        <p:nvSpPr>
          <p:cNvPr id="18" name="TextBox 32"/>
          <p:cNvSpPr txBox="1"/>
          <p:nvPr/>
        </p:nvSpPr>
        <p:spPr>
          <a:xfrm>
            <a:off x="6574971" y="916183"/>
            <a:ext cx="5529949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D6002A"/>
                </a:solidFill>
                <a:latin typeface="Arial (Body)"/>
              </a:rPr>
              <a:t>Cons:</a:t>
            </a:r>
            <a:r>
              <a:rPr lang="en-US" b="1" dirty="0" smtClean="0">
                <a:solidFill>
                  <a:srgbClr val="FF0000"/>
                </a:solidFill>
                <a:latin typeface="Arial (Body)"/>
              </a:rPr>
              <a:t> </a:t>
            </a:r>
            <a:r>
              <a:rPr lang="en-US" b="1" dirty="0" smtClean="0"/>
              <a:t>Word List which Employees don’t like –</a:t>
            </a:r>
          </a:p>
          <a:p>
            <a:endParaRPr lang="en-US" dirty="0"/>
          </a:p>
          <a:p>
            <a:r>
              <a:rPr lang="en-US" dirty="0" smtClean="0"/>
              <a:t>Feedback provided by the Employees they found out to difficulty to cope up with </a:t>
            </a:r>
            <a:r>
              <a:rPr lang="en-US" sz="1600" b="1" dirty="0" smtClean="0">
                <a:solidFill>
                  <a:srgbClr val="D6002A"/>
                </a:solidFill>
              </a:rPr>
              <a:t>Opportunities, Growth,</a:t>
            </a:r>
            <a:r>
              <a:rPr lang="en-US" dirty="0" smtClean="0"/>
              <a:t> </a:t>
            </a:r>
            <a:r>
              <a:rPr lang="en-US" sz="1600" b="1" dirty="0">
                <a:solidFill>
                  <a:srgbClr val="D6002A"/>
                </a:solidFill>
              </a:rPr>
              <a:t>Lack of Training</a:t>
            </a:r>
            <a:r>
              <a:rPr lang="en-US" sz="1600" dirty="0" smtClean="0">
                <a:solidFill>
                  <a:srgbClr val="D6002A"/>
                </a:solidFill>
              </a:rPr>
              <a:t>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Monotonous Work</a:t>
            </a:r>
            <a:r>
              <a:rPr lang="en-US" sz="1600" dirty="0" smtClean="0">
                <a:solidFill>
                  <a:srgbClr val="D6002A"/>
                </a:solidFill>
              </a:rPr>
              <a:t>,</a:t>
            </a:r>
            <a:r>
              <a:rPr lang="en-US" sz="1600" dirty="0" smtClean="0"/>
              <a:t> </a:t>
            </a:r>
            <a:r>
              <a:rPr lang="en-US" sz="1600" b="1" dirty="0">
                <a:solidFill>
                  <a:srgbClr val="D6002A"/>
                </a:solidFill>
              </a:rPr>
              <a:t>Bad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Manager, 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Promotions</a:t>
            </a:r>
            <a:r>
              <a:rPr lang="en-US" sz="1600" dirty="0" smtClean="0">
                <a:solidFill>
                  <a:srgbClr val="D6002A"/>
                </a:solidFill>
              </a:rPr>
              <a:t>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D6002A"/>
                </a:solidFill>
              </a:rPr>
              <a:t>Salary</a:t>
            </a:r>
            <a:r>
              <a:rPr lang="en-US" sz="1600" dirty="0" smtClean="0"/>
              <a:t> and this can be improved.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1565" y="2817997"/>
            <a:ext cx="3267075" cy="344254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20411" y="2690118"/>
            <a:ext cx="3534229" cy="3698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084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3795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6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s about the </a:t>
            </a:r>
            <a:r>
              <a:rPr lang="en-US" dirty="0" err="1" smtClean="0">
                <a:solidFill>
                  <a:schemeClr val="bg1">
                    <a:lumMod val="50000"/>
                  </a:schemeClr>
                </a:solidFill>
              </a:rPr>
              <a:t>Platt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2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472266" y="924886"/>
            <a:ext cx="516218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Pros: </a:t>
            </a:r>
            <a:r>
              <a:rPr lang="en-US" b="1" dirty="0" smtClean="0"/>
              <a:t>Things which Employees liked – </a:t>
            </a:r>
          </a:p>
          <a:p>
            <a:endParaRPr lang="en-US" b="1" dirty="0"/>
          </a:p>
          <a:p>
            <a:r>
              <a:rPr lang="en-US" dirty="0" smtClean="0"/>
              <a:t>According to Employees feedback, we found out that people love our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Benefits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Work </a:t>
            </a:r>
            <a:r>
              <a:rPr lang="en-US" sz="1600" b="1" dirty="0">
                <a:solidFill>
                  <a:srgbClr val="00B050"/>
                </a:solidFill>
              </a:rPr>
              <a:t>Life Balance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Good Work, Smart People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00B050"/>
                </a:solidFill>
              </a:rPr>
              <a:t>Flexible time</a:t>
            </a:r>
            <a:r>
              <a:rPr lang="en-US" sz="1600" dirty="0" smtClean="0"/>
              <a:t> provided by S&amp;P and they are spreading good words on this front.</a:t>
            </a:r>
            <a:endParaRPr lang="en-US" dirty="0" smtClean="0"/>
          </a:p>
        </p:txBody>
      </p:sp>
      <p:sp>
        <p:nvSpPr>
          <p:cNvPr id="18" name="TextBox 32"/>
          <p:cNvSpPr txBox="1"/>
          <p:nvPr/>
        </p:nvSpPr>
        <p:spPr>
          <a:xfrm>
            <a:off x="6574971" y="916183"/>
            <a:ext cx="5529949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D6002A"/>
                </a:solidFill>
                <a:latin typeface="Arial (Body)"/>
              </a:rPr>
              <a:t>Cons:</a:t>
            </a:r>
            <a:r>
              <a:rPr lang="en-US" b="1" dirty="0" smtClean="0">
                <a:solidFill>
                  <a:srgbClr val="FF0000"/>
                </a:solidFill>
                <a:latin typeface="Arial (Body)"/>
              </a:rPr>
              <a:t> </a:t>
            </a:r>
            <a:r>
              <a:rPr lang="en-US" b="1" dirty="0" smtClean="0"/>
              <a:t>Word List which Employees don’t like –</a:t>
            </a:r>
          </a:p>
          <a:p>
            <a:endParaRPr lang="en-US" dirty="0"/>
          </a:p>
          <a:p>
            <a:r>
              <a:rPr lang="en-US" dirty="0" smtClean="0"/>
              <a:t>Feedback provided by the Employees they found out to difficulty to cope up with </a:t>
            </a:r>
            <a:r>
              <a:rPr lang="en-US" sz="1600" b="1" dirty="0" smtClean="0">
                <a:solidFill>
                  <a:srgbClr val="D6002A"/>
                </a:solidFill>
              </a:rPr>
              <a:t>Long Hours, Political Managers,</a:t>
            </a:r>
            <a:r>
              <a:rPr lang="en-US" dirty="0" smtClean="0"/>
              <a:t> </a:t>
            </a:r>
            <a:r>
              <a:rPr lang="en-US" sz="1600" b="1" dirty="0">
                <a:solidFill>
                  <a:srgbClr val="D6002A"/>
                </a:solidFill>
              </a:rPr>
              <a:t>Career Progression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D6002A"/>
                </a:solidFill>
              </a:rPr>
              <a:t>Salary</a:t>
            </a:r>
            <a:r>
              <a:rPr lang="en-US" sz="1600" dirty="0" smtClean="0"/>
              <a:t> and this can be improved.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/>
          <a:srcRect t="5057"/>
          <a:stretch/>
        </p:blipFill>
        <p:spPr>
          <a:xfrm>
            <a:off x="1484154" y="3007360"/>
            <a:ext cx="3484085" cy="338442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32090" y="2639732"/>
            <a:ext cx="3628509" cy="3752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244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300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0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s about the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DJI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3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472266" y="924886"/>
            <a:ext cx="5162185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Pros: </a:t>
            </a:r>
            <a:r>
              <a:rPr lang="en-US" b="1" dirty="0" smtClean="0"/>
              <a:t>Things which Employees liked – </a:t>
            </a:r>
          </a:p>
          <a:p>
            <a:endParaRPr lang="en-US" b="1" dirty="0"/>
          </a:p>
          <a:p>
            <a:r>
              <a:rPr lang="en-US" dirty="0" smtClean="0"/>
              <a:t>According to Employees feedback, we found out that people love our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Benefits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Work </a:t>
            </a:r>
            <a:r>
              <a:rPr lang="en-US" sz="1600" b="1" dirty="0">
                <a:solidFill>
                  <a:srgbClr val="00B050"/>
                </a:solidFill>
              </a:rPr>
              <a:t>Life Balance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Good company, Good Interns, Professional Peoples, Good Internship and Globally renown company </a:t>
            </a:r>
            <a:r>
              <a:rPr lang="en-US" sz="1600" dirty="0" smtClean="0"/>
              <a:t>provided by S&amp;P and they are spreading good words on this front.</a:t>
            </a:r>
            <a:endParaRPr lang="en-US" dirty="0" smtClean="0"/>
          </a:p>
        </p:txBody>
      </p:sp>
      <p:sp>
        <p:nvSpPr>
          <p:cNvPr id="18" name="TextBox 32"/>
          <p:cNvSpPr txBox="1"/>
          <p:nvPr/>
        </p:nvSpPr>
        <p:spPr>
          <a:xfrm>
            <a:off x="6238241" y="916183"/>
            <a:ext cx="586668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D6002A"/>
                </a:solidFill>
                <a:latin typeface="Arial (Body)"/>
              </a:rPr>
              <a:t>Cons:</a:t>
            </a:r>
            <a:r>
              <a:rPr lang="en-US" b="1" dirty="0" smtClean="0">
                <a:solidFill>
                  <a:srgbClr val="FF0000"/>
                </a:solidFill>
                <a:latin typeface="Arial (Body)"/>
              </a:rPr>
              <a:t> </a:t>
            </a:r>
            <a:r>
              <a:rPr lang="en-US" b="1" dirty="0" smtClean="0"/>
              <a:t>Word List which Employees don’t like –</a:t>
            </a:r>
          </a:p>
          <a:p>
            <a:endParaRPr lang="en-US" dirty="0"/>
          </a:p>
          <a:p>
            <a:r>
              <a:rPr lang="en-US" dirty="0" smtClean="0"/>
              <a:t>Feedback provided by the Employees they found out to difficulty to cope up with</a:t>
            </a:r>
            <a:r>
              <a:rPr lang="en-US" sz="1600" b="1" dirty="0">
                <a:solidFill>
                  <a:srgbClr val="D6002A"/>
                </a:solidFill>
              </a:rPr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Politics, Protected Management, Opportunities, Promotions, Squeaky wheel </a:t>
            </a:r>
            <a:r>
              <a:rPr lang="en-US" sz="1600" dirty="0" smtClean="0"/>
              <a:t>and</a:t>
            </a:r>
            <a:r>
              <a:rPr lang="en-US" sz="1600" b="1" dirty="0" smtClean="0">
                <a:solidFill>
                  <a:srgbClr val="D6002A"/>
                </a:solidFill>
              </a:rPr>
              <a:t> Inequality in pay</a:t>
            </a:r>
            <a:r>
              <a:rPr lang="en-US" sz="1600" dirty="0" smtClean="0"/>
              <a:t> and this can be improved. 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60229" y="3110100"/>
            <a:ext cx="3297851" cy="337159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85670" y="2834308"/>
            <a:ext cx="3468970" cy="3713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123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1359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8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s about the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Rating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4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472266" y="924886"/>
            <a:ext cx="5162185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Pros: </a:t>
            </a:r>
            <a:r>
              <a:rPr lang="en-US" b="1" dirty="0" smtClean="0"/>
              <a:t>Things which Employees liked – </a:t>
            </a:r>
          </a:p>
          <a:p>
            <a:endParaRPr lang="en-US" b="1" dirty="0"/>
          </a:p>
          <a:p>
            <a:r>
              <a:rPr lang="en-US" dirty="0" smtClean="0"/>
              <a:t>According to Employees feedback, we found out that people love our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Benefits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Work </a:t>
            </a:r>
            <a:r>
              <a:rPr lang="en-US" sz="1600" b="1" dirty="0">
                <a:solidFill>
                  <a:srgbClr val="00B050"/>
                </a:solidFill>
              </a:rPr>
              <a:t>Life Balance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Good company, Learning, Interesting Work, Work from Home, Working Hours and Office Location</a:t>
            </a:r>
            <a:r>
              <a:rPr lang="en-US" sz="1600" dirty="0" smtClean="0"/>
              <a:t> provided by S&amp;P and they are spreading good words on this front.</a:t>
            </a:r>
            <a:endParaRPr lang="en-US" dirty="0" smtClean="0"/>
          </a:p>
        </p:txBody>
      </p:sp>
      <p:sp>
        <p:nvSpPr>
          <p:cNvPr id="18" name="TextBox 32"/>
          <p:cNvSpPr txBox="1"/>
          <p:nvPr/>
        </p:nvSpPr>
        <p:spPr>
          <a:xfrm>
            <a:off x="6238241" y="916183"/>
            <a:ext cx="5866680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D6002A"/>
                </a:solidFill>
                <a:latin typeface="Arial (Body)"/>
              </a:rPr>
              <a:t>Cons:</a:t>
            </a:r>
            <a:r>
              <a:rPr lang="en-US" b="1" dirty="0" smtClean="0">
                <a:solidFill>
                  <a:srgbClr val="FF0000"/>
                </a:solidFill>
                <a:latin typeface="Arial (Body)"/>
              </a:rPr>
              <a:t> </a:t>
            </a:r>
            <a:r>
              <a:rPr lang="en-US" b="1" dirty="0" smtClean="0"/>
              <a:t>Word List which Employees don’t like –</a:t>
            </a:r>
          </a:p>
          <a:p>
            <a:endParaRPr lang="en-US" dirty="0"/>
          </a:p>
          <a:p>
            <a:r>
              <a:rPr lang="en-US" dirty="0" smtClean="0"/>
              <a:t>Feedback provided by the Employees they found out to difficulty to cope up with</a:t>
            </a:r>
            <a:r>
              <a:rPr lang="en-US" sz="1600" b="1" dirty="0">
                <a:solidFill>
                  <a:srgbClr val="D6002A"/>
                </a:solidFill>
              </a:rPr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Promotions, Processes,  Less Trainings,</a:t>
            </a:r>
            <a:r>
              <a:rPr lang="en-US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Bonus, Salary </a:t>
            </a:r>
            <a:r>
              <a:rPr lang="en-US" sz="1600" dirty="0"/>
              <a:t>and</a:t>
            </a:r>
            <a:r>
              <a:rPr lang="en-US" sz="1600" b="1" dirty="0" smtClean="0">
                <a:solidFill>
                  <a:srgbClr val="D6002A"/>
                </a:solidFill>
              </a:rPr>
              <a:t> Analytical Job without Analytical work</a:t>
            </a:r>
            <a:r>
              <a:rPr lang="en-US" sz="1600" dirty="0" smtClean="0"/>
              <a:t> and this can be improved.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83473" y="3110100"/>
            <a:ext cx="3210447" cy="327833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22563" y="2639732"/>
            <a:ext cx="3824481" cy="3919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296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5845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76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view – For 5 Subsections (Overall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5</a:t>
            </a:fld>
            <a:endParaRPr lang="en-US" dirty="0"/>
          </a:p>
        </p:txBody>
      </p:sp>
      <p:sp>
        <p:nvSpPr>
          <p:cNvPr id="24" name="TextBox 32"/>
          <p:cNvSpPr txBox="1"/>
          <p:nvPr/>
        </p:nvSpPr>
        <p:spPr>
          <a:xfrm>
            <a:off x="4551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areer Opportunity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1" name="TextBox 32"/>
          <p:cNvSpPr txBox="1"/>
          <p:nvPr/>
        </p:nvSpPr>
        <p:spPr>
          <a:xfrm>
            <a:off x="399775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Senior Leadership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4" name="TextBox 32"/>
          <p:cNvSpPr txBox="1"/>
          <p:nvPr/>
        </p:nvSpPr>
        <p:spPr>
          <a:xfrm>
            <a:off x="808207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Work Life balanc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6" name="TextBox 32"/>
          <p:cNvSpPr txBox="1"/>
          <p:nvPr/>
        </p:nvSpPr>
        <p:spPr>
          <a:xfrm>
            <a:off x="2077517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omp &amp; Benefits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8" name="TextBox 32"/>
          <p:cNvSpPr txBox="1"/>
          <p:nvPr/>
        </p:nvSpPr>
        <p:spPr>
          <a:xfrm>
            <a:off x="6647316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ulture &amp; Valu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109" name="Picture 10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48320" y="1151032"/>
            <a:ext cx="3773713" cy="2452937"/>
          </a:xfrm>
          <a:prstGeom prst="rect">
            <a:avLst/>
          </a:prstGeom>
        </p:spPr>
      </p:pic>
      <p:pic>
        <p:nvPicPr>
          <p:cNvPr id="110" name="Picture 10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05741" y="1132388"/>
            <a:ext cx="3875516" cy="2528007"/>
          </a:xfrm>
          <a:prstGeom prst="rect">
            <a:avLst/>
          </a:prstGeom>
        </p:spPr>
      </p:pic>
      <p:pic>
        <p:nvPicPr>
          <p:cNvPr id="111" name="Picture 1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36444" y="4099468"/>
            <a:ext cx="3869340" cy="2658688"/>
          </a:xfrm>
          <a:prstGeom prst="rect">
            <a:avLst/>
          </a:prstGeom>
        </p:spPr>
      </p:pic>
      <p:pic>
        <p:nvPicPr>
          <p:cNvPr id="112" name="Picture 1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20892" y="4219822"/>
            <a:ext cx="3614284" cy="2538334"/>
          </a:xfrm>
          <a:prstGeom prst="rect">
            <a:avLst/>
          </a:prstGeom>
        </p:spPr>
      </p:pic>
      <p:pic>
        <p:nvPicPr>
          <p:cNvPr id="113" name="Picture 1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6821" y="1151033"/>
            <a:ext cx="3591857" cy="2565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763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0863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9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view – For S&amp;P MI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6</a:t>
            </a:fld>
            <a:endParaRPr lang="en-US" dirty="0"/>
          </a:p>
        </p:txBody>
      </p:sp>
      <p:sp>
        <p:nvSpPr>
          <p:cNvPr id="24" name="TextBox 32"/>
          <p:cNvSpPr txBox="1"/>
          <p:nvPr/>
        </p:nvSpPr>
        <p:spPr>
          <a:xfrm>
            <a:off x="4551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areer Opportunity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1" name="TextBox 32"/>
          <p:cNvSpPr txBox="1"/>
          <p:nvPr/>
        </p:nvSpPr>
        <p:spPr>
          <a:xfrm>
            <a:off x="399775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Senior Leadership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4" name="TextBox 32"/>
          <p:cNvSpPr txBox="1"/>
          <p:nvPr/>
        </p:nvSpPr>
        <p:spPr>
          <a:xfrm>
            <a:off x="808207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Work Life balanc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6" name="TextBox 32"/>
          <p:cNvSpPr txBox="1"/>
          <p:nvPr/>
        </p:nvSpPr>
        <p:spPr>
          <a:xfrm>
            <a:off x="2077517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omp &amp; Benefits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8" name="TextBox 32"/>
          <p:cNvSpPr txBox="1"/>
          <p:nvPr/>
        </p:nvSpPr>
        <p:spPr>
          <a:xfrm>
            <a:off x="6647316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ulture &amp; Valu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1688" y="1122587"/>
            <a:ext cx="3150637" cy="250983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16604" y="1122587"/>
            <a:ext cx="3028950" cy="248092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48320" y="1172405"/>
            <a:ext cx="2919747" cy="248825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77517" y="4099467"/>
            <a:ext cx="3097952" cy="255850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647316" y="4118517"/>
            <a:ext cx="3188645" cy="2558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049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210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1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82489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view – For S&amp;P </a:t>
            </a:r>
            <a:r>
              <a:rPr lang="en-US" dirty="0" err="1" smtClean="0">
                <a:solidFill>
                  <a:schemeClr val="bg1">
                    <a:lumMod val="50000"/>
                  </a:schemeClr>
                </a:solidFill>
              </a:rPr>
              <a:t>Plat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7</a:t>
            </a:fld>
            <a:endParaRPr lang="en-US" dirty="0"/>
          </a:p>
        </p:txBody>
      </p:sp>
      <p:sp>
        <p:nvSpPr>
          <p:cNvPr id="24" name="TextBox 32"/>
          <p:cNvSpPr txBox="1"/>
          <p:nvPr/>
        </p:nvSpPr>
        <p:spPr>
          <a:xfrm>
            <a:off x="4551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areer Opportunity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1" name="TextBox 32"/>
          <p:cNvSpPr txBox="1"/>
          <p:nvPr/>
        </p:nvSpPr>
        <p:spPr>
          <a:xfrm>
            <a:off x="399775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Senior Leadership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4" name="TextBox 32"/>
          <p:cNvSpPr txBox="1"/>
          <p:nvPr/>
        </p:nvSpPr>
        <p:spPr>
          <a:xfrm>
            <a:off x="808207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Work Life balanc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6" name="TextBox 32"/>
          <p:cNvSpPr txBox="1"/>
          <p:nvPr/>
        </p:nvSpPr>
        <p:spPr>
          <a:xfrm>
            <a:off x="2077517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omp &amp; Benefits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8" name="TextBox 32"/>
          <p:cNvSpPr txBox="1"/>
          <p:nvPr/>
        </p:nvSpPr>
        <p:spPr>
          <a:xfrm>
            <a:off x="6647316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ulture &amp; Valu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0477" y="1119978"/>
            <a:ext cx="3349023" cy="253901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97757" y="1195131"/>
            <a:ext cx="3060268" cy="248369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10525" y="1119977"/>
            <a:ext cx="3124200" cy="254989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77518" y="4099467"/>
            <a:ext cx="3151708" cy="26935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72224" y="4252059"/>
            <a:ext cx="3209925" cy="2552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480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1437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8"/>
            <a:ext cx="11358880" cy="474438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view – For S&amp;P DJI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8</a:t>
            </a:fld>
            <a:endParaRPr lang="en-US" dirty="0"/>
          </a:p>
        </p:txBody>
      </p:sp>
      <p:sp>
        <p:nvSpPr>
          <p:cNvPr id="24" name="TextBox 32"/>
          <p:cNvSpPr txBox="1"/>
          <p:nvPr/>
        </p:nvSpPr>
        <p:spPr>
          <a:xfrm>
            <a:off x="4551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areer Opportunity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1" name="TextBox 32"/>
          <p:cNvSpPr txBox="1"/>
          <p:nvPr/>
        </p:nvSpPr>
        <p:spPr>
          <a:xfrm>
            <a:off x="399775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Senior Leadership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4" name="TextBox 32"/>
          <p:cNvSpPr txBox="1"/>
          <p:nvPr/>
        </p:nvSpPr>
        <p:spPr>
          <a:xfrm>
            <a:off x="808207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Work Life balanc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6" name="TextBox 32"/>
          <p:cNvSpPr txBox="1"/>
          <p:nvPr/>
        </p:nvSpPr>
        <p:spPr>
          <a:xfrm>
            <a:off x="2077517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omp &amp; Benefits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8" name="TextBox 32"/>
          <p:cNvSpPr txBox="1"/>
          <p:nvPr/>
        </p:nvSpPr>
        <p:spPr>
          <a:xfrm>
            <a:off x="6647316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ulture &amp; Valu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7899" y="1122587"/>
            <a:ext cx="3106801" cy="254818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97757" y="1254337"/>
            <a:ext cx="2921048" cy="241643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79309" y="1084730"/>
            <a:ext cx="3136341" cy="255553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07032" y="4099467"/>
            <a:ext cx="3288868" cy="259647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48425" y="4099468"/>
            <a:ext cx="3228975" cy="2593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905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3354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4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522803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view – For S&amp;P Rating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9</a:t>
            </a:fld>
            <a:endParaRPr lang="en-US" dirty="0"/>
          </a:p>
        </p:txBody>
      </p:sp>
      <p:sp>
        <p:nvSpPr>
          <p:cNvPr id="24" name="TextBox 32"/>
          <p:cNvSpPr txBox="1"/>
          <p:nvPr/>
        </p:nvSpPr>
        <p:spPr>
          <a:xfrm>
            <a:off x="4551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areer Opportunity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1" name="TextBox 32"/>
          <p:cNvSpPr txBox="1"/>
          <p:nvPr/>
        </p:nvSpPr>
        <p:spPr>
          <a:xfrm>
            <a:off x="399775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Senior Leadership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4" name="TextBox 32"/>
          <p:cNvSpPr txBox="1"/>
          <p:nvPr/>
        </p:nvSpPr>
        <p:spPr>
          <a:xfrm>
            <a:off x="808207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Work Life balanc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6" name="TextBox 32"/>
          <p:cNvSpPr txBox="1"/>
          <p:nvPr/>
        </p:nvSpPr>
        <p:spPr>
          <a:xfrm>
            <a:off x="2077517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omp &amp; Benefits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8" name="TextBox 32"/>
          <p:cNvSpPr txBox="1"/>
          <p:nvPr/>
        </p:nvSpPr>
        <p:spPr>
          <a:xfrm>
            <a:off x="6647316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ulture &amp; Valu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9380" y="1247775"/>
            <a:ext cx="3042920" cy="234617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00285" y="1122587"/>
            <a:ext cx="3148012" cy="239602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79605" y="4099467"/>
            <a:ext cx="2972062" cy="245359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28081" y="4099467"/>
            <a:ext cx="3277870" cy="245651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983519" y="1122587"/>
            <a:ext cx="3044863" cy="2515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590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9352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3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Executive 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528" y="930876"/>
            <a:ext cx="11367253" cy="4822225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 smtClean="0"/>
              <a:t>Objectives </a:t>
            </a:r>
          </a:p>
          <a:p>
            <a:r>
              <a:rPr lang="en-US" sz="1800" dirty="0" smtClean="0"/>
              <a:t>Identify hidden issues that might impacting employee experience.</a:t>
            </a:r>
          </a:p>
          <a:p>
            <a:endParaRPr lang="en-US" sz="1800" dirty="0"/>
          </a:p>
          <a:p>
            <a:pPr marL="0" indent="0">
              <a:buNone/>
            </a:pPr>
            <a:r>
              <a:rPr lang="en-US" sz="2400" b="1" dirty="0"/>
              <a:t>Key </a:t>
            </a:r>
            <a:r>
              <a:rPr lang="en-US" sz="2400" b="1" dirty="0" smtClean="0"/>
              <a:t>Observations</a:t>
            </a:r>
          </a:p>
          <a:p>
            <a:r>
              <a:rPr lang="en-US" sz="1800" dirty="0" smtClean="0"/>
              <a:t>Overall Employees were good with 3.3 Average overall satisfaction (out of 5).</a:t>
            </a:r>
          </a:p>
          <a:p>
            <a:r>
              <a:rPr lang="en-US" sz="1800" dirty="0" smtClean="0"/>
              <a:t>Hot </a:t>
            </a:r>
            <a:r>
              <a:rPr lang="en-US" sz="1800" dirty="0"/>
              <a:t>topics are Work Life Balance, Management, Work environment, People, Benefits, Brands, Leadership, Salary, Opportunities etc</a:t>
            </a:r>
            <a:r>
              <a:rPr lang="en-US" sz="1800" dirty="0" smtClean="0"/>
              <a:t>.</a:t>
            </a:r>
          </a:p>
          <a:p>
            <a:r>
              <a:rPr lang="en-US" sz="1800" dirty="0" smtClean="0"/>
              <a:t>55% of the reviews are from US, India and UK employees</a:t>
            </a:r>
            <a:r>
              <a:rPr lang="en-US" sz="1800" dirty="0"/>
              <a:t> </a:t>
            </a:r>
            <a:r>
              <a:rPr lang="en-US" sz="1800" dirty="0" smtClean="0"/>
              <a:t>and saw good representation from countries like – Philippines, Singapore, Pakistan etc</a:t>
            </a:r>
            <a:r>
              <a:rPr lang="en-US" sz="1800" dirty="0"/>
              <a:t>.</a:t>
            </a:r>
            <a:endParaRPr lang="en-US" sz="1800" dirty="0" smtClean="0"/>
          </a:p>
          <a:p>
            <a:endParaRPr lang="en-US" sz="1800" dirty="0" smtClean="0"/>
          </a:p>
          <a:p>
            <a:pPr marL="0" indent="0">
              <a:buNone/>
            </a:pPr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50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8516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70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 Cloud For U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0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9029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99186" y="1014672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2" y="4328283"/>
            <a:ext cx="5162185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Good Pay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Good Culture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Great Benefits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Interesting Work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Work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13" name="TextBox 32"/>
          <p:cNvSpPr txBox="1"/>
          <p:nvPr/>
        </p:nvSpPr>
        <p:spPr>
          <a:xfrm>
            <a:off x="6220181" y="4415815"/>
            <a:ext cx="415248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Growth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Work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Politics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Leadership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Opportunities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Promotion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9600" y="1251031"/>
            <a:ext cx="3301840" cy="294007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41239" y="1251031"/>
            <a:ext cx="3361561" cy="3104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978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1660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77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 Cloud For Indi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1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69515" y="84631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latin typeface="Arial (Body)"/>
              </a:rPr>
              <a:t>Word Cloud for </a:t>
            </a:r>
            <a:r>
              <a:rPr lang="en-US" sz="1200" b="1" dirty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99186" y="862272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0" name="TextBox 32"/>
          <p:cNvSpPr txBox="1"/>
          <p:nvPr/>
        </p:nvSpPr>
        <p:spPr>
          <a:xfrm>
            <a:off x="402596" y="4483588"/>
            <a:ext cx="5162185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Good Working Environment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Good Culture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Less Work Pressure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Transport Facility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Good P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13" name="TextBox 32"/>
          <p:cNvSpPr txBox="1"/>
          <p:nvPr/>
        </p:nvSpPr>
        <p:spPr>
          <a:xfrm>
            <a:off x="6220181" y="4563865"/>
            <a:ext cx="415248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AutoNum type="arabicPeriod"/>
            </a:pPr>
            <a:r>
              <a:rPr lang="en-US" sz="1400" dirty="0"/>
              <a:t>Not Enough Opportunities </a:t>
            </a:r>
          </a:p>
          <a:p>
            <a:pPr marL="342900" indent="-342900">
              <a:buAutoNum type="arabicPeriod"/>
            </a:pPr>
            <a:r>
              <a:rPr lang="en-US" sz="1400" dirty="0"/>
              <a:t>Slow Career / Growth opportunity</a:t>
            </a:r>
          </a:p>
          <a:p>
            <a:pPr marL="342900" indent="-342900">
              <a:buAutoNum type="arabicPeriod"/>
            </a:pPr>
            <a:r>
              <a:rPr lang="en-US" sz="1400" dirty="0"/>
              <a:t>Promotion</a:t>
            </a:r>
          </a:p>
          <a:p>
            <a:pPr marL="342900" indent="-342900">
              <a:buAutoNum type="arabicPeriod"/>
            </a:pPr>
            <a:r>
              <a:rPr lang="en-US" sz="1400" dirty="0"/>
              <a:t>Monotonous work</a:t>
            </a:r>
          </a:p>
          <a:p>
            <a:pPr marL="342900" indent="-342900">
              <a:buAutoNum type="arabicPeriod"/>
            </a:pPr>
            <a:r>
              <a:rPr lang="en-US" sz="1400" dirty="0"/>
              <a:t>Training</a:t>
            </a:r>
          </a:p>
          <a:p>
            <a:pPr marL="342900" indent="-342900">
              <a:buAutoNum type="arabicPeriod"/>
            </a:pPr>
            <a:r>
              <a:rPr lang="en-US" sz="1400" dirty="0"/>
              <a:t>Night Shift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9515" y="1139271"/>
            <a:ext cx="3004095" cy="322429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30095" y="1129201"/>
            <a:ext cx="3911185" cy="335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687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3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 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Current Employees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2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88259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99186" y="852112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351279" y="4686350"/>
            <a:ext cx="4610987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Good Work 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Good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Flexible 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Work From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13" name="TextBox 32"/>
          <p:cNvSpPr txBox="1"/>
          <p:nvPr/>
        </p:nvSpPr>
        <p:spPr>
          <a:xfrm>
            <a:off x="6585941" y="4883175"/>
            <a:ext cx="4152482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Career Growth opportun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Opportun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Not Enough Learn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Politic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4139" y="1159598"/>
            <a:ext cx="3360182" cy="345054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82982" y="1159597"/>
            <a:ext cx="3374300" cy="3542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764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6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 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Former Employees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3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836545" y="88259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99186" y="852112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074375" y="4686350"/>
            <a:ext cx="488789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Work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Good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Flexi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Great Compan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13" name="TextBox 32"/>
          <p:cNvSpPr txBox="1"/>
          <p:nvPr/>
        </p:nvSpPr>
        <p:spPr>
          <a:xfrm>
            <a:off x="6549554" y="4686350"/>
            <a:ext cx="4152482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Growth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Polit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Opportunity, Promo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Learning / Training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1895" y="1432595"/>
            <a:ext cx="2918745" cy="30886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49554" y="1280160"/>
            <a:ext cx="3579966" cy="3165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925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5186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49" name="think-cell Slide" r:id="rId52" imgW="216" imgH="216" progId="TCLayout.ActiveDocument.1">
                  <p:embed/>
                </p:oleObj>
              </mc:Choice>
              <mc:Fallback>
                <p:oleObj name="think-cell Slide" r:id="rId52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err="1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742" y="212471"/>
            <a:ext cx="1881484" cy="465910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vie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4</a:t>
            </a:fld>
            <a:endParaRPr lang="en-US" dirty="0"/>
          </a:p>
        </p:txBody>
      </p:sp>
      <p:sp>
        <p:nvSpPr>
          <p:cNvPr id="7" name="TextBox 32"/>
          <p:cNvSpPr txBox="1">
            <a:spLocks noGrp="1"/>
          </p:cNvSpPr>
          <p:nvPr>
            <p:ph idx="1"/>
          </p:nvPr>
        </p:nvSpPr>
        <p:spPr>
          <a:xfrm>
            <a:off x="708977" y="756150"/>
            <a:ext cx="7917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None/>
            </a:pPr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2594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8" name="TextBox 32"/>
          <p:cNvSpPr txBox="1"/>
          <p:nvPr/>
        </p:nvSpPr>
        <p:spPr>
          <a:xfrm>
            <a:off x="215987" y="1111421"/>
            <a:ext cx="159583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Reviews by former &amp;</a:t>
            </a:r>
          </a:p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 current employee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9" name="TextBox 32"/>
          <p:cNvSpPr txBox="1"/>
          <p:nvPr/>
        </p:nvSpPr>
        <p:spPr>
          <a:xfrm>
            <a:off x="3226482" y="752041"/>
            <a:ext cx="7962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~ 20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10" name="TextBox 32"/>
          <p:cNvSpPr txBox="1"/>
          <p:nvPr/>
        </p:nvSpPr>
        <p:spPr>
          <a:xfrm>
            <a:off x="2970941" y="1092493"/>
            <a:ext cx="123305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Average monthly review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13" name="TextBox 32"/>
          <p:cNvSpPr txBox="1"/>
          <p:nvPr/>
        </p:nvSpPr>
        <p:spPr>
          <a:xfrm>
            <a:off x="215987" y="1963903"/>
            <a:ext cx="33679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Overall, Employees were more vocal from 2012 onwards, Review Count increasing, Median Avg. Overall Satisfaction ratio increased from 3.0 to 3.3</a:t>
            </a:r>
            <a:endParaRPr lang="en-US" sz="1200" b="1" dirty="0"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4641275" y="725281"/>
            <a:ext cx="7409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30%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15" name="TextBox 32"/>
          <p:cNvSpPr txBox="1"/>
          <p:nvPr/>
        </p:nvSpPr>
        <p:spPr>
          <a:xfrm>
            <a:off x="4300284" y="1082825"/>
            <a:ext cx="142291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Is the % of the employee from U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17" name="TextBox 32"/>
          <p:cNvSpPr txBox="1"/>
          <p:nvPr/>
        </p:nvSpPr>
        <p:spPr>
          <a:xfrm>
            <a:off x="6205325" y="747339"/>
            <a:ext cx="7748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58%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18" name="TextBox 32"/>
          <p:cNvSpPr txBox="1"/>
          <p:nvPr/>
        </p:nvSpPr>
        <p:spPr>
          <a:xfrm>
            <a:off x="5793808" y="1091550"/>
            <a:ext cx="159785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Of the reviews from current employee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19" name="TextBox 32"/>
          <p:cNvSpPr txBox="1"/>
          <p:nvPr/>
        </p:nvSpPr>
        <p:spPr>
          <a:xfrm>
            <a:off x="7715581" y="725281"/>
            <a:ext cx="8109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42%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20" name="TextBox 32"/>
          <p:cNvSpPr txBox="1"/>
          <p:nvPr/>
        </p:nvSpPr>
        <p:spPr>
          <a:xfrm>
            <a:off x="7391664" y="1082825"/>
            <a:ext cx="145877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Of the reviews from former employee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24" name="TextBox 32"/>
          <p:cNvSpPr txBox="1"/>
          <p:nvPr/>
        </p:nvSpPr>
        <p:spPr>
          <a:xfrm>
            <a:off x="483632" y="3718678"/>
            <a:ext cx="40952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solidFill>
                  <a:srgbClr val="D6002A"/>
                </a:solidFill>
                <a:latin typeface="Arial (Body)"/>
              </a:rPr>
              <a:t>54%</a:t>
            </a:r>
            <a:r>
              <a:rPr lang="en-US" sz="1200" b="1" dirty="0" smtClean="0">
                <a:latin typeface="Arial (Body)"/>
              </a:rPr>
              <a:t> Reviews from US, India and UK; Avg. Overall Satisfaction rate was good</a:t>
            </a:r>
            <a:endParaRPr lang="en-US" sz="1200" b="1" dirty="0">
              <a:latin typeface="Arial (Body)"/>
            </a:endParaRPr>
          </a:p>
        </p:txBody>
      </p:sp>
      <p:sp>
        <p:nvSpPr>
          <p:cNvPr id="29" name="TextBox 32"/>
          <p:cNvSpPr txBox="1"/>
          <p:nvPr/>
        </p:nvSpPr>
        <p:spPr>
          <a:xfrm>
            <a:off x="5910943" y="3701642"/>
            <a:ext cx="61889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Overall Employees are recommending Organization to others (with a good satisfaction level, more than 60%) , except the employees who spend 1 to 3 Yrs. in organization</a:t>
            </a:r>
            <a:endParaRPr lang="en-US" sz="1200" b="1" dirty="0">
              <a:latin typeface="Arial (Body)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062842" y="784236"/>
            <a:ext cx="627114" cy="29858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129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986850" y="1169308"/>
            <a:ext cx="77909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# Month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9193067" y="677024"/>
            <a:ext cx="785617" cy="50269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rgbClr val="C00000"/>
                </a:solidFill>
                <a:latin typeface="Arial (Body)"/>
              </a:rPr>
              <a:t>47%</a:t>
            </a:r>
          </a:p>
        </p:txBody>
      </p:sp>
      <p:sp>
        <p:nvSpPr>
          <p:cNvPr id="27" name="Rectangle 26"/>
          <p:cNvSpPr/>
          <p:nvPr/>
        </p:nvSpPr>
        <p:spPr>
          <a:xfrm>
            <a:off x="8806458" y="1157959"/>
            <a:ext cx="1558834" cy="34908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/>
          <a:p>
            <a:pPr algn="ctr"/>
            <a:r>
              <a:rPr lang="en-US" sz="1050" b="1" dirty="0">
                <a:solidFill>
                  <a:srgbClr val="58595B"/>
                </a:solidFill>
                <a:latin typeface="Arial (Body)"/>
              </a:rPr>
              <a:t>Avg. Recommender </a:t>
            </a:r>
          </a:p>
          <a:p>
            <a:pPr algn="ctr"/>
            <a:r>
              <a:rPr lang="en-US" sz="1050" b="1" dirty="0">
                <a:solidFill>
                  <a:srgbClr val="58595B"/>
                </a:solidFill>
                <a:latin typeface="Arial (Body)"/>
              </a:rPr>
              <a:t>Score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0219558" y="1157959"/>
            <a:ext cx="1615996" cy="3254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/>
          <a:p>
            <a:pPr algn="ctr"/>
            <a:r>
              <a:rPr lang="en-US" sz="1050" b="1" dirty="0">
                <a:solidFill>
                  <a:srgbClr val="58595B"/>
                </a:solidFill>
                <a:latin typeface="Arial (Body)"/>
              </a:rPr>
              <a:t>Approved Current CEO (on an Average)</a:t>
            </a:r>
          </a:p>
        </p:txBody>
      </p:sp>
      <p:sp>
        <p:nvSpPr>
          <p:cNvPr id="34" name="Rectangle 33"/>
          <p:cNvSpPr/>
          <p:nvPr/>
        </p:nvSpPr>
        <p:spPr>
          <a:xfrm>
            <a:off x="10451089" y="723312"/>
            <a:ext cx="1152935" cy="33892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73%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graphicFrame>
        <p:nvGraphicFramePr>
          <p:cNvPr id="186" name="Chart 185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02639562"/>
              </p:ext>
            </p:extLst>
          </p:nvPr>
        </p:nvGraphicFramePr>
        <p:xfrm>
          <a:off x="-7938" y="4343400"/>
          <a:ext cx="6092825" cy="168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53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636963" y="5973763"/>
            <a:ext cx="552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84FBACDC-E3A9-4645-9B0A-D034D1739FAF}" type="datetime'A''''r''''g''''''''''''e''''n''''''''''''''''''''ti''''n''a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rgentina</a:t>
            </a:fld>
            <a:endParaRPr lang="en-US" sz="1000" dirty="0">
              <a:sym typeface="+mn-lt"/>
            </a:endParaRPr>
          </a:p>
        </p:txBody>
      </p:sp>
      <p:sp>
        <p:nvSpPr>
          <p:cNvPr id="43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084263" y="5973763"/>
            <a:ext cx="285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81B38677-83F8-4B12-B256-BF0AC87AFCD0}" type="datetime'''''''In''''d''''''i''''''''''''''''''''''''''''''''''a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India</a:t>
            </a:fld>
            <a:endParaRPr lang="en-US" sz="1000" dirty="0">
              <a:sym typeface="+mn-l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546350" y="5973763"/>
            <a:ext cx="5873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0E0FAFDF-790A-4C54-B032-04EF90322119}" type="datetime'S''''''''i''''''n''g''''a''''pore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ingapore</a:t>
            </a:fld>
            <a:endParaRPr lang="en-US" sz="1000" dirty="0"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96900" y="5973763"/>
            <a:ext cx="1889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16E7A5D8-43F3-47BA-A9D4-CF490572D928}" type="datetime'''''''''''''''''''''''''U''''S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US</a:t>
            </a:fld>
            <a:endParaRPr lang="en-US" sz="1000" dirty="0">
              <a:sym typeface="+mn-lt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671638" y="5973763"/>
            <a:ext cx="1889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CD8B4944-22A1-47CB-A1D9-9FA446890082}" type="datetime'''''U''''''''K''''''''''''''''''''''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UK</a:t>
            </a:fld>
            <a:endParaRPr lang="en-US" sz="1000" dirty="0">
              <a:sym typeface="+mn-lt"/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990725" y="5973763"/>
            <a:ext cx="623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A7921905-8EE4-4207-A556-8946AFB5994C}" type="datetime'''P''''''h''''''''''''i''l''''''ip''p''''in''''''''''e''''s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hilippines</a:t>
            </a:fld>
            <a:endParaRPr lang="en-US" sz="1000" dirty="0">
              <a:sym typeface="+mn-lt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128963" y="5973763"/>
            <a:ext cx="496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D1D007C1-31C3-43B4-82E4-01111B20182A}" type="datetime'''''''''Pa''k''''i''''''''s''''''''''''''''''tan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akistan</a:t>
            </a:fld>
            <a:endParaRPr lang="en-US" sz="1000" dirty="0"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248150" y="5973763"/>
            <a:ext cx="4064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99E895CB-6DCF-462C-A08C-59D9FAAB5B98}" type="datetime'''''''''''''''''''F''''''''''''''r''''ance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rance</a:t>
            </a:fld>
            <a:endParaRPr lang="en-US" sz="1000" dirty="0"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684713" y="5973763"/>
            <a:ext cx="6080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78C13A19-910B-4AFE-BFD8-19D48729DA47}" type="datetime'''Hong''''''''''''''''K''''''''''o''''''''n''''''''''''g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HongKong</a:t>
            </a:fld>
            <a:endParaRPr lang="en-US" sz="1000" dirty="0">
              <a:sym typeface="+mn-lt"/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330825" y="5973763"/>
            <a:ext cx="3921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65ADE9CE-33F8-4D64-8A6C-506D07E3642C}" type="datetime'''''''''''''''O''''''''''''''''''t''h''''e''''''''rs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thers</a:t>
            </a:fld>
            <a:endParaRPr lang="en-US" sz="1000" dirty="0">
              <a:sym typeface="+mn-lt"/>
            </a:endParaRPr>
          </a:p>
        </p:txBody>
      </p:sp>
      <p:sp useBgFill="1">
        <p:nvSpPr>
          <p:cNvPr id="168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104900" y="4902200"/>
            <a:ext cx="244475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7BBECD5B-6494-4BE2-9549-AA17213784DA}" type="datetime'''''''''''''''''4''''''''''''''''''8''''''9''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9</a:t>
            </a:fld>
            <a:endParaRPr lang="en-US" sz="1000" dirty="0">
              <a:sym typeface="+mn-lt"/>
            </a:endParaRPr>
          </a:p>
        </p:txBody>
      </p:sp>
      <p:sp>
        <p:nvSpPr>
          <p:cNvPr id="23" name="Rectangle 22"/>
          <p:cNvSpPr/>
          <p:nvPr>
            <p:custDataLst>
              <p:tags r:id="rId16"/>
            </p:custDataLst>
          </p:nvPr>
        </p:nvSpPr>
        <p:spPr bwMode="auto">
          <a:xfrm>
            <a:off x="1878013" y="6324600"/>
            <a:ext cx="179388" cy="133350"/>
          </a:xfrm>
          <a:prstGeom prst="rect">
            <a:avLst/>
          </a:prstGeom>
          <a:solidFill>
            <a:srgbClr val="96969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2">
                    <a:lumMod val="9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12" name="Straight Connector 11"/>
          <p:cNvCxnSpPr/>
          <p:nvPr>
            <p:custDataLst>
              <p:tags r:id="rId17"/>
            </p:custDataLst>
          </p:nvPr>
        </p:nvCxnSpPr>
        <p:spPr bwMode="gray">
          <a:xfrm>
            <a:off x="1895475" y="6203950"/>
            <a:ext cx="142875" cy="0"/>
          </a:xfrm>
          <a:prstGeom prst="line">
            <a:avLst/>
          </a:prstGeom>
          <a:ln w="285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108200" y="6319838"/>
            <a:ext cx="1055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5CA785BC-3BD7-4F1F-AE43-268D59B3B6B2}" type="datetime'N''''umbe''''''''''''''r ''o''f r''e''''vi''''ew''s''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Number of reviews</a:t>
            </a:fld>
            <a:endParaRPr lang="en-US" sz="1000" dirty="0">
              <a:sym typeface="+mn-lt"/>
            </a:endParaRPr>
          </a:p>
        </p:txBody>
      </p:sp>
      <p:sp>
        <p:nvSpPr>
          <p:cNvPr id="102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108200" y="6132513"/>
            <a:ext cx="18954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9B3696C2-0238-4C39-9C4D-8E2D4AF05019}" type="datetime'''''A''ve''r''ag''''e ove''''rall satisfac''tion ''r''ati''ng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Average overall satisfaction rating</a:t>
            </a:fld>
            <a:endParaRPr lang="en-US" sz="1000" dirty="0">
              <a:sym typeface="+mn-lt"/>
            </a:endParaRPr>
          </a:p>
        </p:txBody>
      </p:sp>
      <p:graphicFrame>
        <p:nvGraphicFramePr>
          <p:cNvPr id="199" name="Chart 198"/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090084742"/>
              </p:ext>
            </p:extLst>
          </p:nvPr>
        </p:nvGraphicFramePr>
        <p:xfrm>
          <a:off x="3578225" y="1854200"/>
          <a:ext cx="8521700" cy="1193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137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737600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83E21299-C55B-4E55-A6FB-D411E5838A6D}" type="datetime'''''''''2''''''0''''''''''''''''''''15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en-US" sz="1000" dirty="0">
              <a:sym typeface="+mn-lt"/>
            </a:endParaRPr>
          </a:p>
        </p:txBody>
      </p:sp>
      <p:sp>
        <p:nvSpPr>
          <p:cNvPr id="125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088313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8DF5C65A-82AC-47CE-A146-ED0B7EBA6424}" type="datetime'''''''''''''''''2''''''''01''''''''''''''''''''4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US" sz="1000" dirty="0">
              <a:sym typeface="+mn-lt"/>
            </a:endParaRPr>
          </a:p>
        </p:txBody>
      </p:sp>
      <p:sp>
        <p:nvSpPr>
          <p:cNvPr id="126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487988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33C38C67-3ECB-4159-9152-D2B315A0CC29}" type="datetime'''''''''2''''''''0''1''''''''''''''0''''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0</a:t>
            </a:fld>
            <a:endParaRPr lang="en-US" sz="1000" dirty="0">
              <a:sym typeface="+mn-lt"/>
            </a:endParaRPr>
          </a:p>
        </p:txBody>
      </p:sp>
      <p:sp>
        <p:nvSpPr>
          <p:cNvPr id="123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4187825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A1A078FD-5FEE-4323-9BD5-950445911C3C}" type="datetime'''''''''''''''''''''''''20''''0''''''''''''''''''8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8</a:t>
            </a:fld>
            <a:endParaRPr lang="en-US" sz="1000" dirty="0">
              <a:sym typeface="+mn-lt"/>
            </a:endParaRPr>
          </a:p>
        </p:txBody>
      </p:sp>
      <p:sp>
        <p:nvSpPr>
          <p:cNvPr id="12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788150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D22075B4-FF53-46B3-BD8A-F881338EC025}" type="datetime'''''20''''''''''1''''''''''''2''''''''''''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1000" dirty="0">
              <a:sym typeface="+mn-lt"/>
            </a:endParaRPr>
          </a:p>
        </p:txBody>
      </p:sp>
      <p:sp>
        <p:nvSpPr>
          <p:cNvPr id="128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137275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C606472F-DC5A-4E22-AF11-CBAFF8BA0D21}" type="datetime'''''2''''''''''''''''''''''''''''''''''0''''''1''''1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US" sz="1000" dirty="0">
              <a:sym typeface="+mn-lt"/>
            </a:endParaRPr>
          </a:p>
        </p:txBody>
      </p:sp>
      <p:sp>
        <p:nvSpPr>
          <p:cNvPr id="12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837113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D4DA7852-9C68-4D14-90F3-2DDC2D9C4A55}" type="datetime'2''''''''0''''''0''''9''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9</a:t>
            </a:fld>
            <a:endParaRPr lang="en-US" sz="1000" dirty="0">
              <a:sym typeface="+mn-lt"/>
            </a:endParaRPr>
          </a:p>
        </p:txBody>
      </p:sp>
      <p:sp>
        <p:nvSpPr>
          <p:cNvPr id="129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437438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2986528F-33E7-4588-9905-1F2A433EC759}" type="datetime'''''''20''''''''''''''''''1''''''''3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1000" dirty="0">
              <a:sym typeface="+mn-lt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388475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82347298-0B4D-4C37-866F-DA1ED6DFD77A}" type="datetime'''''''''''20''''''1''''''''''6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1000" dirty="0">
              <a:sym typeface="+mn-lt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037763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030EBFCC-6B6F-47B2-BE79-4647150068EC}" type="datetime'''''''''''''''''''2''''017''''''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1000" dirty="0"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0688638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3895CC79-0E4E-456D-BC4B-D517DD9F1A20}" type="datetime'''''''''20''''''''''''''''''''''''''1''''''''''''''''''''8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000" dirty="0"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1337925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4EA21F4C-97FE-4ADF-94EC-D727FDB6BFD6}" type="datetime'''''''''''''''''''''''''''''2''''''''''''''''''019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1000" dirty="0">
              <a:sym typeface="+mn-lt"/>
            </a:endParaRPr>
          </a:p>
        </p:txBody>
      </p:sp>
      <p:sp useBgFill="1">
        <p:nvSpPr>
          <p:cNvPr id="110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0079038" y="2090738"/>
            <a:ext cx="209550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26D7DF1D-26D7-46EF-ACBB-2BD9EE0C0C87}" type="datetime'''''3''.''''''''''''''''''''4''''''''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4</a:t>
            </a:fld>
            <a:endParaRPr lang="en-US" sz="1000" dirty="0">
              <a:sym typeface="+mn-lt"/>
            </a:endParaRPr>
          </a:p>
        </p:txBody>
      </p:sp>
      <p:sp useBgFill="1">
        <p:nvSpPr>
          <p:cNvPr id="109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778875" y="2109788"/>
            <a:ext cx="209550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6D5DC2D0-D929-42D8-A408-A0F94ED5921B}" type="datetime'''''''''''''3''.''''''3''''''''''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3</a:t>
            </a:fld>
            <a:endParaRPr lang="en-US" sz="1000" dirty="0">
              <a:sym typeface="+mn-lt"/>
            </a:endParaRPr>
          </a:p>
        </p:txBody>
      </p:sp>
      <p:cxnSp>
        <p:nvCxnSpPr>
          <p:cNvPr id="132" name="Straight Connector 131"/>
          <p:cNvCxnSpPr/>
          <p:nvPr>
            <p:custDataLst>
              <p:tags r:id="rId35"/>
            </p:custDataLst>
          </p:nvPr>
        </p:nvCxnSpPr>
        <p:spPr bwMode="gray">
          <a:xfrm>
            <a:off x="6435725" y="3267075"/>
            <a:ext cx="142875" cy="0"/>
          </a:xfrm>
          <a:prstGeom prst="line">
            <a:avLst/>
          </a:prstGeom>
          <a:ln w="285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ctangle 132"/>
          <p:cNvSpPr/>
          <p:nvPr>
            <p:custDataLst>
              <p:tags r:id="rId36"/>
            </p:custDataLst>
          </p:nvPr>
        </p:nvSpPr>
        <p:spPr bwMode="auto">
          <a:xfrm>
            <a:off x="8343900" y="3200400"/>
            <a:ext cx="179388" cy="133350"/>
          </a:xfrm>
          <a:prstGeom prst="rect">
            <a:avLst/>
          </a:prstGeom>
          <a:solidFill>
            <a:srgbClr val="96969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2">
                    <a:lumMod val="9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35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8574088" y="3195638"/>
            <a:ext cx="1055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E16B438B-6FA1-45E3-ACCF-6A4B7F43908E}" type="datetime'Nu''m''''b''''''''er'''' ''of'''''''' ''''''r''''''evi''ews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Number of reviews</a:t>
            </a:fld>
            <a:endParaRPr lang="en-US" sz="1000" dirty="0">
              <a:sym typeface="+mn-lt"/>
            </a:endParaRPr>
          </a:p>
        </p:txBody>
      </p:sp>
      <p:sp>
        <p:nvSpPr>
          <p:cNvPr id="134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648450" y="3195638"/>
            <a:ext cx="1593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BCF946DB-AC1D-4A37-9E06-D3B520E606D9}" type="datetime'''''''Av''era''''''''ge Ov''''''''erall Satisfaction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Average Overall Satisfaction</a:t>
            </a:fld>
            <a:endParaRPr lang="en-US" sz="1000" dirty="0">
              <a:sym typeface="+mn-lt"/>
            </a:endParaRPr>
          </a:p>
        </p:txBody>
      </p:sp>
      <p:graphicFrame>
        <p:nvGraphicFramePr>
          <p:cNvPr id="198" name="Chart 197"/>
          <p:cNvGraphicFramePr/>
          <p:nvPr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1991011944"/>
              </p:ext>
            </p:extLst>
          </p:nvPr>
        </p:nvGraphicFramePr>
        <p:xfrm>
          <a:off x="5937250" y="4395788"/>
          <a:ext cx="6162675" cy="199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sp>
        <p:nvSpPr>
          <p:cNvPr id="218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9331325" y="6330950"/>
            <a:ext cx="420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A4483FAE-1081-4898-A94B-DA5427BA3D3C}" type="datetime'5-''''''''''8'''''''''' ''Y''''''''''''''''''''''''''''''rs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-8 Yrs</a:t>
            </a:fld>
            <a:endParaRPr lang="en-US" sz="1000" dirty="0">
              <a:sym typeface="+mn-lt"/>
            </a:endParaRPr>
          </a:p>
        </p:txBody>
      </p:sp>
      <p:sp>
        <p:nvSpPr>
          <p:cNvPr id="221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424863" y="6330950"/>
            <a:ext cx="420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F3505F95-BA84-40C3-ADD1-33A12031F41F}" type="datetime'''''''''''''3''''''''''''''-''''5 Yr''''''s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-5 Yrs</a:t>
            </a:fld>
            <a:endParaRPr lang="en-US" sz="1000" dirty="0">
              <a:sym typeface="+mn-lt"/>
            </a:endParaRPr>
          </a:p>
        </p:txBody>
      </p:sp>
      <p:sp>
        <p:nvSpPr>
          <p:cNvPr id="216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451725" y="6330950"/>
            <a:ext cx="552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451F6845-7B3C-4903-B0DE-BE8E58195653}" type="datetime'1'''''''' ''''t''''''''o'''' ''''''''''''''3'''' Yrs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 to 3 Yrs</a:t>
            </a:fld>
            <a:endParaRPr lang="en-US" sz="1000" dirty="0">
              <a:sym typeface="+mn-lt"/>
            </a:endParaRPr>
          </a:p>
        </p:txBody>
      </p:sp>
      <p:sp>
        <p:nvSpPr>
          <p:cNvPr id="219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6643688" y="6330950"/>
            <a:ext cx="3540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19E27271-AFDD-4559-9BA4-AA84BB5EAAF3}" type="datetime'&lt;'''''''''' ''1'' Y''''''''r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&lt; 1 Yr</a:t>
            </a:fld>
            <a:endParaRPr lang="en-US" sz="1000" dirty="0">
              <a:sym typeface="+mn-lt"/>
            </a:endParaRPr>
          </a:p>
        </p:txBody>
      </p:sp>
      <p:sp>
        <p:nvSpPr>
          <p:cNvPr id="217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0204450" y="6330950"/>
            <a:ext cx="4905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D11CC1FC-A701-4966-B219-9F9AE2BED893}" type="datetime'''''''8''''''''''''-1''0'''''''''' Y''''''''''''''''rs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-10 Yrs</a:t>
            </a:fld>
            <a:endParaRPr lang="en-US" sz="1000" dirty="0">
              <a:sym typeface="+mn-lt"/>
            </a:endParaRPr>
          </a:p>
        </p:txBody>
      </p:sp>
      <p:sp>
        <p:nvSpPr>
          <p:cNvPr id="244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1112500" y="6330950"/>
            <a:ext cx="4873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360384E9-767C-499F-9F6A-7AC233411D81}" type="datetime'''''''''''''&gt; 1''''''''0'''''''''''''''' Yrs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&gt; 10 Yrs</a:t>
            </a:fld>
            <a:endParaRPr lang="en-US" sz="1000" dirty="0">
              <a:sym typeface="+mn-lt"/>
            </a:endParaRPr>
          </a:p>
        </p:txBody>
      </p:sp>
      <p:sp useBgFill="1">
        <p:nvSpPr>
          <p:cNvPr id="194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9183688" y="5060950"/>
            <a:ext cx="244475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AEDCEF58-3C53-43EE-8FD5-47C26F757776}" type="datetime'''''''2''''''4''0''''''''''''''''''''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0</a:t>
            </a:fld>
            <a:endParaRPr lang="en-US" sz="1000" dirty="0">
              <a:sym typeface="+mn-lt"/>
            </a:endParaRPr>
          </a:p>
        </p:txBody>
      </p:sp>
      <p:cxnSp>
        <p:nvCxnSpPr>
          <p:cNvPr id="224" name="Straight Connector 223"/>
          <p:cNvCxnSpPr/>
          <p:nvPr>
            <p:custDataLst>
              <p:tags r:id="rId47"/>
            </p:custDataLst>
          </p:nvPr>
        </p:nvCxnSpPr>
        <p:spPr bwMode="gray">
          <a:xfrm>
            <a:off x="7783513" y="6534150"/>
            <a:ext cx="142875" cy="0"/>
          </a:xfrm>
          <a:prstGeom prst="line">
            <a:avLst/>
          </a:prstGeom>
          <a:ln w="285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Rectangle 224"/>
          <p:cNvSpPr/>
          <p:nvPr>
            <p:custDataLst>
              <p:tags r:id="rId48"/>
            </p:custDataLst>
          </p:nvPr>
        </p:nvSpPr>
        <p:spPr bwMode="auto">
          <a:xfrm>
            <a:off x="7766050" y="6654800"/>
            <a:ext cx="179388" cy="133350"/>
          </a:xfrm>
          <a:prstGeom prst="rect">
            <a:avLst/>
          </a:prstGeom>
          <a:solidFill>
            <a:srgbClr val="96969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2">
                    <a:lumMod val="9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26" name="Text Placeholder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996238" y="6462713"/>
            <a:ext cx="18954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68A43285-AA1F-45BE-9963-FE4285DEF56E}" type="datetime'Ave''r''a''''ge o''ver''all satis''''''facti''on ra''''''ting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Average overall satisfaction rating</a:t>
            </a:fld>
            <a:endParaRPr lang="en-US" sz="1000" dirty="0">
              <a:sym typeface="+mn-lt"/>
            </a:endParaRPr>
          </a:p>
        </p:txBody>
      </p:sp>
      <p:sp>
        <p:nvSpPr>
          <p:cNvPr id="227" name="Text Placeholder 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996238" y="6650038"/>
            <a:ext cx="1055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05206365-8F2E-48C1-9C62-DDB07C0A939E}" type="datetime'N''u''''''''''m''b''''''''''''er ''of revi''''e''''''ws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Number of reviews</a:t>
            </a:fld>
            <a:endParaRPr lang="en-US" sz="1000" dirty="0">
              <a:sym typeface="+mn-lt"/>
            </a:endParaRPr>
          </a:p>
        </p:txBody>
      </p:sp>
      <p:sp>
        <p:nvSpPr>
          <p:cNvPr id="3" name="Right Brace 2"/>
          <p:cNvSpPr/>
          <p:nvPr/>
        </p:nvSpPr>
        <p:spPr>
          <a:xfrm rot="16200000">
            <a:off x="6184151" y="304050"/>
            <a:ext cx="176126" cy="3022599"/>
          </a:xfrm>
          <a:prstGeom prst="rightBrac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ight Brace 74"/>
          <p:cNvSpPr/>
          <p:nvPr/>
        </p:nvSpPr>
        <p:spPr>
          <a:xfrm rot="16200000">
            <a:off x="9510952" y="304050"/>
            <a:ext cx="176126" cy="3022599"/>
          </a:xfrm>
          <a:prstGeom prst="rightBrac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5723198" y="1526919"/>
            <a:ext cx="1064952" cy="2003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i="1" dirty="0" smtClean="0">
                <a:solidFill>
                  <a:schemeClr val="tx1"/>
                </a:solidFill>
              </a:rPr>
              <a:t>Median = 3.0</a:t>
            </a:r>
          </a:p>
        </p:txBody>
      </p:sp>
      <p:sp>
        <p:nvSpPr>
          <p:cNvPr id="77" name="Rectangle 76"/>
          <p:cNvSpPr/>
          <p:nvPr/>
        </p:nvSpPr>
        <p:spPr>
          <a:xfrm>
            <a:off x="8943975" y="1496331"/>
            <a:ext cx="1064952" cy="2003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i="1" dirty="0" smtClean="0">
                <a:solidFill>
                  <a:schemeClr val="tx1"/>
                </a:solidFill>
              </a:rPr>
              <a:t>Median = 3.3</a:t>
            </a:r>
          </a:p>
        </p:txBody>
      </p:sp>
    </p:spTree>
    <p:extLst>
      <p:ext uri="{BB962C8B-B14F-4D97-AF65-F5344CB8AC3E}">
        <p14:creationId xmlns:p14="http://schemas.microsoft.com/office/powerpoint/2010/main" val="642308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9635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80" name="think-cell Slide" r:id="rId72" imgW="216" imgH="216" progId="TCLayout.ActiveDocument.1">
                  <p:embed/>
                </p:oleObj>
              </mc:Choice>
              <mc:Fallback>
                <p:oleObj name="think-cell Slide" r:id="rId72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800" dirty="0" err="1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39" y="88904"/>
            <a:ext cx="11852788" cy="465910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Top Pros &amp; Cons</a:t>
            </a:r>
            <a:r>
              <a:rPr lang="en-US" dirty="0" smtClean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s about the Compan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5</a:t>
            </a:fld>
            <a:endParaRPr lang="en-US" dirty="0"/>
          </a:p>
        </p:txBody>
      </p:sp>
      <p:graphicFrame>
        <p:nvGraphicFramePr>
          <p:cNvPr id="510" name="Chart 509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24437100"/>
              </p:ext>
            </p:extLst>
          </p:nvPr>
        </p:nvGraphicFramePr>
        <p:xfrm>
          <a:off x="112713" y="865188"/>
          <a:ext cx="11850687" cy="1749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4"/>
          </a:graphicData>
        </a:graphic>
      </p:graphicFrame>
      <p:sp>
        <p:nvSpPr>
          <p:cNvPr id="298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509963" y="2549525"/>
            <a:ext cx="109538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307D6459-F3A9-481A-A1E0-2E7049F121A5}" type="datetime'w''o''r''k_cul''''t''''''''''''u''''''''''''''r''e''''''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_culture</a:t>
            </a:fld>
            <a:endParaRPr lang="en-US" sz="800" dirty="0">
              <a:sym typeface="+mn-lt"/>
            </a:endParaRPr>
          </a:p>
        </p:txBody>
      </p:sp>
      <p:sp>
        <p:nvSpPr>
          <p:cNvPr id="296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860550" y="2549525"/>
            <a:ext cx="109538" cy="931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D8F6D17C-BFE8-4AF3-93E5-A828C6E30700}" type="datetime'''''''''''s''e''nio''r''_''mana''ge''m''''e''''''''n''''t''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nior_management</a:t>
            </a:fld>
            <a:endParaRPr lang="en-US" sz="800" dirty="0">
              <a:sym typeface="+mn-lt"/>
            </a:endParaRPr>
          </a:p>
        </p:txBody>
      </p:sp>
      <p:sp>
        <p:nvSpPr>
          <p:cNvPr id="293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311275" y="2549525"/>
            <a:ext cx="109538" cy="833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2407422B-2A3A-4286-AFDF-38FFFDEA4D1C}" type="datetime'''''wo''rk_e''nv''ir''on''''m''''''''''e''''''n''''t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_environment</a:t>
            </a:fld>
            <a:endParaRPr lang="en-US" sz="800" dirty="0">
              <a:sym typeface="+mn-lt"/>
            </a:endParaRPr>
          </a:p>
        </p:txBody>
      </p:sp>
      <p:sp>
        <p:nvSpPr>
          <p:cNvPr id="295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62000" y="2549525"/>
            <a:ext cx="109538" cy="423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1EA7C807-FB00-4347-970A-25C8F0821B13}" type="datetime'''''''''''''''W''''''or''k''_''''''''''''''''li''''''''f''e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_life</a:t>
            </a:fld>
            <a:endParaRPr lang="en-US" sz="800" dirty="0">
              <a:sym typeface="+mn-lt"/>
            </a:endParaRPr>
          </a:p>
        </p:txBody>
      </p:sp>
      <p:sp>
        <p:nvSpPr>
          <p:cNvPr id="300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157788" y="2549525"/>
            <a:ext cx="109538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136F062C-2D2E-4A35-8034-D587D6953F74}" type="datetime'wo''r''''k''''''''''''''''''_''''''''h''''''''''''o''me''''''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_home</a:t>
            </a:fld>
            <a:endParaRPr lang="en-US" sz="800" dirty="0">
              <a:sym typeface="+mn-lt"/>
            </a:endParaRPr>
          </a:p>
        </p:txBody>
      </p:sp>
      <p:sp>
        <p:nvSpPr>
          <p:cNvPr id="297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411413" y="2549525"/>
            <a:ext cx="109538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315A3A5C-1005-4E76-B462-F24E54897D0B}" type="datetime'''''''''c''''o''''''''''m''p''an''''''''''''''y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mpany</a:t>
            </a:fld>
            <a:endParaRPr lang="en-US" sz="800" dirty="0">
              <a:sym typeface="+mn-lt"/>
            </a:endParaRPr>
          </a:p>
        </p:txBody>
      </p:sp>
      <p:sp useBgFill="1">
        <p:nvSpPr>
          <p:cNvPr id="322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776413" y="2057400"/>
            <a:ext cx="279400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F508D402-4CDE-4331-9EE6-D985D86E6C6F}" type="datetime'1''''9.''''''''''''''''''''''0''''''''''''''''''''''''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.0</a:t>
            </a:fld>
            <a:endParaRPr lang="en-US" sz="1000" dirty="0">
              <a:sym typeface="+mn-lt"/>
            </a:endParaRPr>
          </a:p>
        </p:txBody>
      </p:sp>
      <p:sp useBgFill="1">
        <p:nvSpPr>
          <p:cNvPr id="324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524375" y="1844675"/>
            <a:ext cx="279400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E07D2336-F15B-43B0-BEDC-9175BADE7026}" type="datetime'''3''''''''4''''''''''''''''''''.0''''''''''''''''''''''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.0</a:t>
            </a:fld>
            <a:endParaRPr lang="en-US" sz="1000" dirty="0">
              <a:sym typeface="+mn-lt"/>
            </a:endParaRPr>
          </a:p>
        </p:txBody>
      </p:sp>
      <p:sp useBgFill="1">
        <p:nvSpPr>
          <p:cNvPr id="357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876550" y="1562100"/>
            <a:ext cx="279400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E16B7DFC-00F3-43D3-80F0-E380CB3F03C7}" type="datetime'''''''''5''''''''''''''''''''''''4''''''''''''''.''''0''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.0</a:t>
            </a:fld>
            <a:endParaRPr lang="en-US" sz="1000" dirty="0">
              <a:sym typeface="+mn-lt"/>
            </a:endParaRPr>
          </a:p>
        </p:txBody>
      </p:sp>
      <p:sp>
        <p:nvSpPr>
          <p:cNvPr id="294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960688" y="2549525"/>
            <a:ext cx="109538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231FDFA6-C716-4828-B941-D6CACD85B9A6}" type="datetime'''''''''''''''''''''''w''o''''''''r''''''k''''''''''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</a:t>
            </a:fld>
            <a:endParaRPr lang="en-US" sz="800" dirty="0">
              <a:sym typeface="+mn-lt"/>
            </a:endParaRPr>
          </a:p>
        </p:txBody>
      </p:sp>
      <p:sp>
        <p:nvSpPr>
          <p:cNvPr id="292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059238" y="2549525"/>
            <a:ext cx="109538" cy="51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A095BAF3-ADEF-4F58-A74E-672CEECF14B0}" type="datetime'pl''a''''''c''''''''''e''''_''''''''''''''wo''''rk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lace_work</a:t>
            </a:fld>
            <a:endParaRPr lang="en-US" sz="800" dirty="0">
              <a:sym typeface="+mn-lt"/>
            </a:endParaRPr>
          </a:p>
        </p:txBody>
      </p:sp>
      <p:sp>
        <p:nvSpPr>
          <p:cNvPr id="299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608513" y="2549525"/>
            <a:ext cx="109538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618B9C18-CA50-4B08-A162-865A9365F7C9}" type="datetime'''''''''''emp''''''''''''l''''o''''y''''e''''''e''''''''s''''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mployees</a:t>
            </a:fld>
            <a:endParaRPr lang="en-US" sz="800" dirty="0">
              <a:sym typeface="+mn-lt"/>
            </a:endParaRPr>
          </a:p>
        </p:txBody>
      </p:sp>
      <p:sp useBgFill="1">
        <p:nvSpPr>
          <p:cNvPr id="34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622925" y="1916113"/>
            <a:ext cx="279400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550AC61C-D987-4821-808B-C8F825EEDA77}" type="datetime'''''''''2''''''''''''9''.''''''''''''''0''''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0</a:t>
            </a:fld>
            <a:endParaRPr lang="en-US" sz="1000" dirty="0">
              <a:sym typeface="+mn-lt"/>
            </a:endParaRPr>
          </a:p>
        </p:txBody>
      </p:sp>
      <p:sp>
        <p:nvSpPr>
          <p:cNvPr id="347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356475" y="2549525"/>
            <a:ext cx="109538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A66FCE41-288A-4F48-945B-DB45E2F87407}" type="datetime'g''''''''''''oo''''d''''''_''p''''''eop''''l''''''''''''e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ood_people</a:t>
            </a:fld>
            <a:endParaRPr lang="en-US" sz="800" dirty="0">
              <a:sym typeface="+mn-lt"/>
            </a:endParaRPr>
          </a:p>
        </p:txBody>
      </p:sp>
      <p:sp>
        <p:nvSpPr>
          <p:cNvPr id="344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708650" y="2549525"/>
            <a:ext cx="10953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C68A696-4DA0-4C44-8715-AD893C92075A}" type="datetime'''m''''''a''n''''a''''''ge''''''''''''m''''''e''nt''''''''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nagement</a:t>
            </a:fld>
            <a:endParaRPr lang="en-US" sz="800" dirty="0">
              <a:sym typeface="+mn-lt"/>
            </a:endParaRPr>
          </a:p>
        </p:txBody>
      </p:sp>
      <p:sp>
        <p:nvSpPr>
          <p:cNvPr id="345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257925" y="2549525"/>
            <a:ext cx="1095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984A190F-8EA8-40E5-A8CD-4716781ACA59}" type="datetime'p''''e''''''o''''''''''''''''''''''''p''''''''l''''''''e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eople</a:t>
            </a:fld>
            <a:endParaRPr lang="en-US" sz="800" dirty="0">
              <a:sym typeface="+mn-lt"/>
            </a:endParaRPr>
          </a:p>
        </p:txBody>
      </p:sp>
      <p:sp>
        <p:nvSpPr>
          <p:cNvPr id="346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807200" y="2549525"/>
            <a:ext cx="109538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668029BF-5409-48E1-B7FA-B9DE51CD0828}" type="datetime'''''''''p''''''''eo''''''''''pl''''e_''''w''o''''r''''k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eople_work</a:t>
            </a:fld>
            <a:endParaRPr lang="en-US" sz="800" dirty="0">
              <a:sym typeface="+mn-lt"/>
            </a:endParaRPr>
          </a:p>
        </p:txBody>
      </p:sp>
      <p:sp>
        <p:nvSpPr>
          <p:cNvPr id="355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0653713" y="2549525"/>
            <a:ext cx="109538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4C7A5BD4-10E6-42F8-9C1C-7435AD096869}" type="datetime'''''''''''o''''''ppo''''''r''''t''''''u''n''''iti''es''''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pportunities</a:t>
            </a:fld>
            <a:endParaRPr lang="en-US" sz="800" dirty="0">
              <a:sym typeface="+mn-lt"/>
            </a:endParaRPr>
          </a:p>
        </p:txBody>
      </p:sp>
      <p:sp>
        <p:nvSpPr>
          <p:cNvPr id="353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555163" y="2549525"/>
            <a:ext cx="1095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C22DBB1B-8263-4A38-B30A-639C3AFE9E0B}" type="datetime'''''''''''''''p''''''''''''''ay''''''''''''''''''''''''''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ay</a:t>
            </a:fld>
            <a:endParaRPr lang="en-US" sz="800" dirty="0">
              <a:sym typeface="+mn-lt"/>
            </a:endParaRPr>
          </a:p>
        </p:txBody>
      </p:sp>
      <p:sp>
        <p:nvSpPr>
          <p:cNvPr id="348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905750" y="2549525"/>
            <a:ext cx="109538" cy="271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02BD0A27-2863-465E-88C2-2725A9034A2F}" type="datetime'''s''''''''''a''''la''''''''''''''''''r''''''y''''''''''''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alary</a:t>
            </a:fld>
            <a:endParaRPr lang="en-US" sz="800" dirty="0">
              <a:sym typeface="+mn-lt"/>
            </a:endParaRPr>
          </a:p>
        </p:txBody>
      </p:sp>
      <p:sp>
        <p:nvSpPr>
          <p:cNvPr id="351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455025" y="2549525"/>
            <a:ext cx="109538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FFEF5DAA-2C34-49DF-A6F0-FA55A15C62F7}" type="datetime'''''cap''''''''i''t''''''''''''a''''l_''''''''i''''''q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apital_iq</a:t>
            </a:fld>
            <a:endParaRPr lang="en-US" sz="800" dirty="0">
              <a:sym typeface="+mn-lt"/>
            </a:endParaRPr>
          </a:p>
        </p:txBody>
      </p:sp>
      <p:sp>
        <p:nvSpPr>
          <p:cNvPr id="352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9004300" y="2549525"/>
            <a:ext cx="1095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BF52B33D-B175-4BE5-BA7D-C7598BC655D0}" type="datetime'''t''''''''''''''i''''''me''''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ime</a:t>
            </a:fld>
            <a:endParaRPr lang="en-US" sz="800" dirty="0">
              <a:sym typeface="+mn-lt"/>
            </a:endParaRPr>
          </a:p>
        </p:txBody>
      </p:sp>
      <p:sp>
        <p:nvSpPr>
          <p:cNvPr id="35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0104438" y="2549525"/>
            <a:ext cx="1095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58072385-1B78-4FB2-8313-5BC610C3618C}" type="datetime'''''''j''''''''o''''b''''''''''''''''''''''''''''''''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ob</a:t>
            </a:fld>
            <a:endParaRPr lang="en-US" sz="800" dirty="0">
              <a:sym typeface="+mn-lt"/>
            </a:endParaRPr>
          </a:p>
        </p:txBody>
      </p:sp>
      <p:sp>
        <p:nvSpPr>
          <p:cNvPr id="356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202988" y="2549526"/>
            <a:ext cx="1095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96203B85-BC67-4D94-9573-FF77AB1B57E6}" type="datetime'''''''''''''''''t''''''''''''''''''''ea''m''''''''''s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eams</a:t>
            </a:fld>
            <a:endParaRPr lang="en-US" sz="800" dirty="0">
              <a:sym typeface="+mn-lt"/>
            </a:endParaRPr>
          </a:p>
        </p:txBody>
      </p:sp>
      <p:sp>
        <p:nvSpPr>
          <p:cNvPr id="375" name="TextBox 32"/>
          <p:cNvSpPr txBox="1"/>
          <p:nvPr/>
        </p:nvSpPr>
        <p:spPr>
          <a:xfrm>
            <a:off x="238125" y="649288"/>
            <a:ext cx="6189663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Common words in Pros and Cons with Word distribution in Pros</a:t>
            </a:r>
            <a:endParaRPr lang="en-US" sz="1200" b="1" dirty="0">
              <a:latin typeface="Arial (Body)"/>
            </a:endParaRPr>
          </a:p>
        </p:txBody>
      </p:sp>
      <p:sp>
        <p:nvSpPr>
          <p:cNvPr id="509" name="TextBox 32"/>
          <p:cNvSpPr txBox="1"/>
          <p:nvPr/>
        </p:nvSpPr>
        <p:spPr>
          <a:xfrm>
            <a:off x="240903" y="3520822"/>
            <a:ext cx="4631532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Common words in Pros and their frequency</a:t>
            </a:r>
            <a:endParaRPr lang="en-US" sz="1200" b="1" dirty="0">
              <a:latin typeface="Arial (Body)"/>
            </a:endParaRPr>
          </a:p>
        </p:txBody>
      </p:sp>
      <p:sp>
        <p:nvSpPr>
          <p:cNvPr id="533" name="TextBox 32"/>
          <p:cNvSpPr txBox="1"/>
          <p:nvPr/>
        </p:nvSpPr>
        <p:spPr>
          <a:xfrm>
            <a:off x="6500813" y="3518333"/>
            <a:ext cx="4630738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Common words in Cons and their frequency</a:t>
            </a:r>
            <a:endParaRPr lang="en-US" sz="1200" b="1" dirty="0">
              <a:latin typeface="Arial (Body)"/>
            </a:endParaRPr>
          </a:p>
        </p:txBody>
      </p:sp>
      <p:graphicFrame>
        <p:nvGraphicFramePr>
          <p:cNvPr id="686" name="Chart 685"/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149175687"/>
              </p:ext>
            </p:extLst>
          </p:nvPr>
        </p:nvGraphicFramePr>
        <p:xfrm>
          <a:off x="158750" y="3806825"/>
          <a:ext cx="5199063" cy="1674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sp>
        <p:nvSpPr>
          <p:cNvPr id="548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12738" y="5432425"/>
            <a:ext cx="109538" cy="40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8904E605-606B-4FC7-8156-001574D4F40B}" type="datetime'''w''''''''''''''''''''''o''rk_''l''''''''''''i''''f''e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_life</a:t>
            </a:fld>
            <a:endParaRPr lang="en-US" sz="800" dirty="0">
              <a:sym typeface="+mn-lt"/>
            </a:endParaRPr>
          </a:p>
        </p:txBody>
      </p:sp>
      <p:sp>
        <p:nvSpPr>
          <p:cNvPr id="556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822450" y="5432425"/>
            <a:ext cx="109538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56F3FE5A-00DC-4D19-9238-E0C46710E6F9}" type="datetime'wor''k''''''''''_''''cu''''lt''u''''''''''''r''e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_culture</a:t>
            </a:fld>
            <a:endParaRPr lang="en-US" sz="800" dirty="0">
              <a:sym typeface="+mn-lt"/>
            </a:endParaRPr>
          </a:p>
        </p:txBody>
      </p:sp>
      <p:sp>
        <p:nvSpPr>
          <p:cNvPr id="549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65150" y="5432425"/>
            <a:ext cx="109538" cy="50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0CCC33BA-7ACA-49FD-ACF2-2B5468E3ED5D}" type="datetime'''''''''''''g''''o''o''''d''_''''''''wo''''''r''''''k''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ood_work</a:t>
            </a:fld>
            <a:endParaRPr lang="en-US" sz="800" dirty="0">
              <a:sym typeface="+mn-lt"/>
            </a:endParaRPr>
          </a:p>
        </p:txBody>
      </p:sp>
      <p:sp>
        <p:nvSpPr>
          <p:cNvPr id="555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571625" y="5432425"/>
            <a:ext cx="109538" cy="700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6E0031D-69DD-406C-80B4-32CDC8E9CD0F}" type="datetime'g''o''''''od''_''''com''p''''''''''''''''''''''a''ny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ood_company</a:t>
            </a:fld>
            <a:endParaRPr lang="en-US" sz="800" dirty="0">
              <a:sym typeface="+mn-lt"/>
            </a:endParaRPr>
          </a:p>
        </p:txBody>
      </p:sp>
      <p:sp>
        <p:nvSpPr>
          <p:cNvPr id="558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2325688" y="5432425"/>
            <a:ext cx="109538" cy="51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B384C2DB-DAFE-4268-BF52-8B41B1B5CD52}" type="datetime'''''''''''pl''''''''''a''''ce''_''''w''''''''o''r''k''''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lace_work</a:t>
            </a:fld>
            <a:endParaRPr lang="en-US" sz="800" dirty="0">
              <a:sym typeface="+mn-lt"/>
            </a:endParaRPr>
          </a:p>
        </p:txBody>
      </p:sp>
      <p:sp>
        <p:nvSpPr>
          <p:cNvPr id="550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15975" y="5432425"/>
            <a:ext cx="109538" cy="64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0B94AB55-0C36-4999-A4B0-A5080FEE0F3B}" type="datetime'g''''''o''o''''d''''_''''''b''''''''''''''en''''e''''''f''its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ood_benefits</a:t>
            </a:fld>
            <a:endParaRPr lang="en-US" sz="800" dirty="0">
              <a:sym typeface="+mn-lt"/>
            </a:endParaRPr>
          </a:p>
        </p:txBody>
      </p:sp>
      <p:sp>
        <p:nvSpPr>
          <p:cNvPr id="557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2074863" y="5432425"/>
            <a:ext cx="109538" cy="64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476AA645-B7B2-408B-A883-840552FBF840}" type="datetime'g''r''''''eat''''''''''_''b''e''''n''''''''ef''''''''its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reat_benefits</a:t>
            </a:fld>
            <a:endParaRPr lang="en-US" sz="800" dirty="0">
              <a:sym typeface="+mn-lt"/>
            </a:endParaRPr>
          </a:p>
        </p:txBody>
      </p:sp>
      <p:sp>
        <p:nvSpPr>
          <p:cNvPr id="567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591050" y="5432425"/>
            <a:ext cx="109538" cy="64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F4ACAC9F-4212-4133-B53C-D349535B0F31}" type="datetime'''bene''''''f''i''''ts_''''''''''''''goo''d''''''''''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enefits_good</a:t>
            </a:fld>
            <a:endParaRPr lang="en-US" sz="800" dirty="0">
              <a:sym typeface="+mn-lt"/>
            </a:endParaRPr>
          </a:p>
        </p:txBody>
      </p:sp>
      <p:sp>
        <p:nvSpPr>
          <p:cNvPr id="564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836988" y="5432425"/>
            <a:ext cx="109538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69DF69E5-CF55-4F1B-8AF8-B71766E3F761}" type="datetime'g''o''o''''''''''''''d''''_''''''''s''a''l''''ary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ood_salary</a:t>
            </a:fld>
            <a:endParaRPr lang="en-US" sz="800" dirty="0">
              <a:sym typeface="+mn-lt"/>
            </a:endParaRPr>
          </a:p>
        </p:txBody>
      </p:sp>
      <p:sp>
        <p:nvSpPr>
          <p:cNvPr id="553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068388" y="5432425"/>
            <a:ext cx="109538" cy="833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286EB1E3-35F9-433F-A680-1386AAF9C811}" type="datetime'''wo''''''''''''''''rk_e''''''''''nv''iro''''n''''m''e''nt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_environment</a:t>
            </a:fld>
            <a:endParaRPr lang="en-US" sz="800" dirty="0">
              <a:sym typeface="+mn-lt"/>
            </a:endParaRPr>
          </a:p>
        </p:txBody>
      </p:sp>
      <p:sp>
        <p:nvSpPr>
          <p:cNvPr id="554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319213" y="5432425"/>
            <a:ext cx="109538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128EA479-028D-4F4E-9889-10CD8346BA43}" type="datetime'''''''''g''o''''''''''''''od''_p''''''''''ay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ood_pay</a:t>
            </a:fld>
            <a:endParaRPr lang="en-US" sz="800" dirty="0">
              <a:sym typeface="+mn-lt"/>
            </a:endParaRPr>
          </a:p>
        </p:txBody>
      </p:sp>
      <p:sp>
        <p:nvSpPr>
          <p:cNvPr id="559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2578100" y="5432425"/>
            <a:ext cx="109538" cy="598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B70D0C90-3BE8-4C29-AB7F-FA34E75E435D}" type="datetime'''gr''e''''a''''''t''''''''''_''''p''''e''''op''l''''e''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reat_people</a:t>
            </a:fld>
            <a:endParaRPr lang="en-US" sz="800" dirty="0">
              <a:sym typeface="+mn-lt"/>
            </a:endParaRPr>
          </a:p>
        </p:txBody>
      </p:sp>
      <p:sp>
        <p:nvSpPr>
          <p:cNvPr id="562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3333750" y="5432425"/>
            <a:ext cx="109538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317F4302-FC09-41C2-A093-138B0149388E}" type="datetime'''''''''''''''''''''w''''''''o''''r''''''''''k''''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</a:t>
            </a:fld>
            <a:endParaRPr lang="en-US" sz="800" dirty="0">
              <a:sym typeface="+mn-lt"/>
            </a:endParaRPr>
          </a:p>
        </p:txBody>
      </p:sp>
      <p:sp>
        <p:nvSpPr>
          <p:cNvPr id="560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2830513" y="5432425"/>
            <a:ext cx="109538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BE47633-40E7-4D82-AD2C-C5EB4323681A}" type="datetime'''''wo''''''''''r''''''''''k_''''''''h''''''''''''''''ome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_home</a:t>
            </a:fld>
            <a:endParaRPr lang="en-US" sz="800" dirty="0">
              <a:sym typeface="+mn-lt"/>
            </a:endParaRPr>
          </a:p>
        </p:txBody>
      </p:sp>
      <p:sp>
        <p:nvSpPr>
          <p:cNvPr id="561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3081338" y="5432425"/>
            <a:ext cx="109538" cy="64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0F172BA8-72C3-4416-A639-A26EA60C4511}" type="datetime'ba''l''''an''ce''''_''g''''o''''''o''''''''''d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alance_good</a:t>
            </a:fld>
            <a:endParaRPr lang="en-US" sz="800" dirty="0">
              <a:sym typeface="+mn-lt"/>
            </a:endParaRPr>
          </a:p>
        </p:txBody>
      </p:sp>
      <p:sp>
        <p:nvSpPr>
          <p:cNvPr id="563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3584575" y="5432425"/>
            <a:ext cx="109538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90265687-3B19-4DEA-AC5D-3CAB7BD11BF6}" type="datetime'''''wo''''''r''''''''''king''_en''viron''m''''en''t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ing_environment</a:t>
            </a:fld>
            <a:endParaRPr lang="en-US" sz="800" dirty="0">
              <a:sym typeface="+mn-lt"/>
            </a:endParaRPr>
          </a:p>
        </p:txBody>
      </p:sp>
      <p:sp>
        <p:nvSpPr>
          <p:cNvPr id="565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4087813" y="5432425"/>
            <a:ext cx="109538" cy="658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9E3F989E-824F-475D-B046-BB99958D2C7A}" type="datetime'n''''ic''''''''e''''_''co''''''''''''m''''p''a''''''''n''''y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ice_company</a:t>
            </a:fld>
            <a:endParaRPr lang="en-US" sz="800" dirty="0">
              <a:sym typeface="+mn-lt"/>
            </a:endParaRPr>
          </a:p>
        </p:txBody>
      </p:sp>
      <p:sp>
        <p:nvSpPr>
          <p:cNvPr id="566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4340225" y="5432425"/>
            <a:ext cx="109538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7DE8A2FB-5E7C-45F2-AEC5-D4301FAF6970}" type="datetime'''g''''oo''d''''''_''''''''''p''''''''''l''a''''c''''e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ood_place</a:t>
            </a:fld>
            <a:endParaRPr lang="en-US" sz="800" dirty="0">
              <a:sym typeface="+mn-lt"/>
            </a:endParaRPr>
          </a:p>
        </p:txBody>
      </p:sp>
      <p:sp>
        <p:nvSpPr>
          <p:cNvPr id="568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843463" y="5432425"/>
            <a:ext cx="10953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DBD8D4D7-A5B1-4CC2-8AAD-91B2D802915D}" type="datetime'''m''''''''cg''''r''''a''''w''''''''''''''''_''h''ill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cgraw_hill</a:t>
            </a:fld>
            <a:endParaRPr lang="en-US" sz="800" dirty="0">
              <a:sym typeface="+mn-lt"/>
            </a:endParaRPr>
          </a:p>
        </p:txBody>
      </p:sp>
      <p:sp>
        <p:nvSpPr>
          <p:cNvPr id="569" name="Text Placeholder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094288" y="5432425"/>
            <a:ext cx="109538" cy="588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12908EA9-02C0-48A1-90DE-06FD09018145}" type="datetime'''''''''''''''f''le''x''''i''bl''''''''e''''_''w''''ork''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lexible_work</a:t>
            </a:fld>
            <a:endParaRPr lang="en-US" sz="800" dirty="0">
              <a:sym typeface="+mn-lt"/>
            </a:endParaRPr>
          </a:p>
        </p:txBody>
      </p:sp>
      <p:graphicFrame>
        <p:nvGraphicFramePr>
          <p:cNvPr id="711" name="Chart 710"/>
          <p:cNvGraphicFramePr/>
          <p:nvPr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1465203479"/>
              </p:ext>
            </p:extLst>
          </p:nvPr>
        </p:nvGraphicFramePr>
        <p:xfrm>
          <a:off x="5856288" y="3806825"/>
          <a:ext cx="5199062" cy="1674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sp>
        <p:nvSpPr>
          <p:cNvPr id="697" name="Text Placeholder 2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6765925" y="5432425"/>
            <a:ext cx="109538" cy="40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B26D09E6-0B6E-4DB9-A5C5-B2D48AD22991}" type="datetime'''''''''''wo''''''''r''''''''k''''''_''''''''li''''''fe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_life</a:t>
            </a:fld>
            <a:endParaRPr lang="en-US" sz="800" dirty="0">
              <a:sym typeface="+mn-lt"/>
            </a:endParaRPr>
          </a:p>
        </p:txBody>
      </p:sp>
      <p:sp>
        <p:nvSpPr>
          <p:cNvPr id="688" name="Text Placeholder 2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6010275" y="5432425"/>
            <a:ext cx="109538" cy="931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8AAFCCC8-9DD6-477A-9AFF-02F7CBDBFB69}" type="datetime'''''''''s''enio''''''r_''m''a''n''''''''''''age''''''me''nt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nior_management</a:t>
            </a:fld>
            <a:endParaRPr lang="en-US" sz="800" dirty="0">
              <a:sym typeface="+mn-lt"/>
            </a:endParaRPr>
          </a:p>
        </p:txBody>
      </p:sp>
      <p:sp>
        <p:nvSpPr>
          <p:cNvPr id="691" name="Text Placeholder 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7269163" y="5432426"/>
            <a:ext cx="109538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BEDAB44B-4D48-436B-BF16-5E448F35D0DA}" type="datetime'''w''''''''o''''''''''''rk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</a:t>
            </a:fld>
            <a:endParaRPr lang="en-US" sz="800" dirty="0">
              <a:sym typeface="+mn-lt"/>
            </a:endParaRPr>
          </a:p>
        </p:txBody>
      </p:sp>
      <p:sp>
        <p:nvSpPr>
          <p:cNvPr id="698" name="Text Placeholder 2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7016750" y="5432425"/>
            <a:ext cx="109538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F98DDAF1-4493-4622-AC87-89ED08C1D3C1}" type="datetime'''''''''''''''''''''e''''m''''''''p''''''l''o''''yee''''''''s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mployees</a:t>
            </a:fld>
            <a:endParaRPr lang="en-US" sz="800" dirty="0">
              <a:sym typeface="+mn-lt"/>
            </a:endParaRPr>
          </a:p>
        </p:txBody>
      </p:sp>
      <p:sp>
        <p:nvSpPr>
          <p:cNvPr id="690" name="Text Placeholder 2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6262688" y="5432424"/>
            <a:ext cx="109538" cy="915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D3B4FD50-E238-4452-A405-8D65294F3298}" type="datetime'u''''pp''''''''''e''''''''r_m''''a''na''''g''''''ement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upper_management</a:t>
            </a:fld>
            <a:endParaRPr lang="en-US" sz="800" dirty="0">
              <a:sym typeface="+mn-lt"/>
            </a:endParaRPr>
          </a:p>
        </p:txBody>
      </p:sp>
      <p:sp>
        <p:nvSpPr>
          <p:cNvPr id="689" name="Text Placeholder 2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7519988" y="5432425"/>
            <a:ext cx="10953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47C85A70-EC08-47CA-87FC-CCE46DFF9243}" type="datetime'''ma''''''na''''''g''e''''''m''e''''''''''nt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nagement</a:t>
            </a:fld>
            <a:endParaRPr lang="en-US" sz="800" dirty="0">
              <a:sym typeface="+mn-lt"/>
            </a:endParaRPr>
          </a:p>
        </p:txBody>
      </p:sp>
      <p:sp>
        <p:nvSpPr>
          <p:cNvPr id="693" name="Text Placeholder 2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6513513" y="5432425"/>
            <a:ext cx="109538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A791C328-B132-4C44-A6CB-D2A322BE25D1}" type="datetime'''''c''''''''''''om''''''''''p''''''an''''''y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mpany</a:t>
            </a:fld>
            <a:endParaRPr lang="en-US" sz="800" dirty="0">
              <a:sym typeface="+mn-lt"/>
            </a:endParaRPr>
          </a:p>
        </p:txBody>
      </p:sp>
      <p:sp>
        <p:nvSpPr>
          <p:cNvPr id="694" name="Text Placeholder 2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7772400" y="5432425"/>
            <a:ext cx="109538" cy="8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75D53FF3-666D-407F-B8CC-05FC644ED776}" type="datetime'''''m''''onot''o''''''''''n''ous''_''wo''''r''k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onotonous_work</a:t>
            </a:fld>
            <a:endParaRPr lang="en-US" sz="800" dirty="0">
              <a:sym typeface="+mn-lt"/>
            </a:endParaRPr>
          </a:p>
        </p:txBody>
      </p:sp>
      <p:sp>
        <p:nvSpPr>
          <p:cNvPr id="706" name="Text Placeholder 2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10541000" y="5432424"/>
            <a:ext cx="109538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F234C9EA-BD30-4413-8365-55AECB26D7F6}" type="datetime'''mi''ddle''''''_''''m''a''''n''a''''''ge''m''e''n''t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iddle_management</a:t>
            </a:fld>
            <a:endParaRPr lang="en-US" sz="800" dirty="0">
              <a:sym typeface="+mn-lt"/>
            </a:endParaRPr>
          </a:p>
        </p:txBody>
      </p:sp>
      <p:sp>
        <p:nvSpPr>
          <p:cNvPr id="692" name="Text Placeholder 2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8023225" y="5432425"/>
            <a:ext cx="109538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F5C6F555-26ED-464B-A6DD-17B52BC165B0}" type="datetime'''''''g''''''''''''''''o''''''''''o''''''''''d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ood</a:t>
            </a:fld>
            <a:endParaRPr lang="en-US" sz="800" dirty="0">
              <a:sym typeface="+mn-lt"/>
            </a:endParaRPr>
          </a:p>
        </p:txBody>
      </p:sp>
      <p:sp>
        <p:nvSpPr>
          <p:cNvPr id="695" name="Text Placeholder 2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10288588" y="5432424"/>
            <a:ext cx="109538" cy="85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195D3363-AB8D-48FC-A8AC-7C1153C119B5}" type="datetime'po''or''''_''''m''''''a''''n''a''''''g''''e''m''e''nt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oor_management</a:t>
            </a:fld>
            <a:endParaRPr lang="en-US" sz="800" dirty="0">
              <a:sym typeface="+mn-lt"/>
            </a:endParaRPr>
          </a:p>
        </p:txBody>
      </p:sp>
      <p:sp>
        <p:nvSpPr>
          <p:cNvPr id="699" name="Text Placeholder 2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8275638" y="5432425"/>
            <a:ext cx="109538" cy="94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25DBE0E5-357B-4AE6-8677-04907D8C53C0}" type="datetime'g''r''''''owt''h_''op''po''''''''rt''''u''''''nities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rowth_opportunities</a:t>
            </a:fld>
            <a:endParaRPr lang="en-US" sz="800" dirty="0">
              <a:sym typeface="+mn-lt"/>
            </a:endParaRPr>
          </a:p>
        </p:txBody>
      </p:sp>
      <p:sp>
        <p:nvSpPr>
          <p:cNvPr id="701" name="Text Placeholder 2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8528050" y="5432426"/>
            <a:ext cx="109538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378D325-EA39-4F9A-9A47-6ACFB88DA586}" type="datetime'''''la''''''''''''''''''''''''''c''''''k''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lack</a:t>
            </a:fld>
            <a:endParaRPr lang="en-US" sz="800" dirty="0">
              <a:sym typeface="+mn-lt"/>
            </a:endParaRPr>
          </a:p>
        </p:txBody>
      </p:sp>
      <p:sp>
        <p:nvSpPr>
          <p:cNvPr id="702" name="Text Placeholder 2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8778875" y="5432425"/>
            <a:ext cx="109538" cy="652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407001DF-70C2-43FE-BF69-82785284E6D7}" type="datetime'c''a''''''r''''e''''er''''''''''''''''_''''''g''ro''w''th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areer_growth</a:t>
            </a:fld>
            <a:endParaRPr lang="en-US" sz="800" dirty="0">
              <a:sym typeface="+mn-lt"/>
            </a:endParaRPr>
          </a:p>
        </p:txBody>
      </p:sp>
      <p:sp>
        <p:nvSpPr>
          <p:cNvPr id="700" name="Text Placeholder 2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9031288" y="5432424"/>
            <a:ext cx="10953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5D847243-560D-4A5B-8C94-8B528CA27671}" type="datetime'''''''''''''''''''''''''co''''''n''s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ns</a:t>
            </a:fld>
            <a:endParaRPr lang="en-US" sz="800" dirty="0">
              <a:sym typeface="+mn-lt"/>
            </a:endParaRPr>
          </a:p>
        </p:txBody>
      </p:sp>
      <p:sp>
        <p:nvSpPr>
          <p:cNvPr id="703" name="Text Placeholder 2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9282113" y="5432425"/>
            <a:ext cx="109538" cy="833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886D57E2-4CC0-4DCB-9226-2A5A0CBBA93B}" type="datetime'w''o''''r''k''_''e''n''''v''''''i''''''ro''''''nm''e''''nt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_environment</a:t>
            </a:fld>
            <a:endParaRPr lang="en-US" sz="800" dirty="0">
              <a:sym typeface="+mn-lt"/>
            </a:endParaRPr>
          </a:p>
        </p:txBody>
      </p:sp>
      <p:sp>
        <p:nvSpPr>
          <p:cNvPr id="696" name="Text Placeholder 2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9534525" y="5432425"/>
            <a:ext cx="10953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F146C37-CCC1-4517-AF5A-36D1FBFEB4AF}" type="datetime'm''''''''c''''gra''''''w''''''''''_hi''''''l''''''''l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cgraw_hill</a:t>
            </a:fld>
            <a:endParaRPr lang="en-US" sz="800" dirty="0">
              <a:sym typeface="+mn-lt"/>
            </a:endParaRPr>
          </a:p>
        </p:txBody>
      </p:sp>
      <p:sp>
        <p:nvSpPr>
          <p:cNvPr id="704" name="Text Placeholder 2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9785350" y="5432425"/>
            <a:ext cx="109538" cy="20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5C23D021-A07F-4A45-86CC-6EB87D797F7F}" type="datetime'p''''''''oo''''''''''''''''r''''''''''''''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oor</a:t>
            </a:fld>
            <a:endParaRPr lang="en-US" sz="800" dirty="0">
              <a:sym typeface="+mn-lt"/>
            </a:endParaRPr>
          </a:p>
        </p:txBody>
      </p:sp>
      <p:sp>
        <p:nvSpPr>
          <p:cNvPr id="705" name="Text Placeholder 2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10037763" y="5432425"/>
            <a:ext cx="109538" cy="29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9D129CED-ECED-4C65-904C-26730E0136C4}" type="datetime'li''''mi''''''''''''''''''te''''''d''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limited</a:t>
            </a:fld>
            <a:endParaRPr lang="en-US" sz="800" dirty="0">
              <a:sym typeface="+mn-lt"/>
            </a:endParaRPr>
          </a:p>
        </p:txBody>
      </p:sp>
      <p:sp>
        <p:nvSpPr>
          <p:cNvPr id="707" name="Text Placeholder 2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10791825" y="5432425"/>
            <a:ext cx="1095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35D098C2-5F1A-4B2C-BF4F-5BE8FC69D649}" type="datetime'pe''''''''''''''''''''o''p''l''e''''''''''''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eople</a:t>
            </a:fld>
            <a:endParaRPr lang="en-US" sz="8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26780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4674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12" name="think-cell Slide" r:id="rId45" imgW="216" imgH="216" progId="TCLayout.ActiveDocument.1">
                  <p:embed/>
                </p:oleObj>
              </mc:Choice>
              <mc:Fallback>
                <p:oleObj name="think-cell Slide" r:id="rId4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800" dirty="0" err="1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39" y="88904"/>
            <a:ext cx="11852788" cy="465910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Slicing &amp; Dicing Rating w.r.t. Tenur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6</a:t>
            </a:fld>
            <a:endParaRPr lang="en-US" dirty="0"/>
          </a:p>
        </p:txBody>
      </p:sp>
      <p:sp>
        <p:nvSpPr>
          <p:cNvPr id="375" name="TextBox 32"/>
          <p:cNvSpPr txBox="1"/>
          <p:nvPr/>
        </p:nvSpPr>
        <p:spPr>
          <a:xfrm>
            <a:off x="238126" y="649288"/>
            <a:ext cx="42816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Each segment rating difference between Current and </a:t>
            </a:r>
          </a:p>
          <a:p>
            <a:r>
              <a:rPr lang="en-US" sz="1200" b="1" dirty="0" smtClean="0">
                <a:latin typeface="Arial (Body)"/>
              </a:rPr>
              <a:t>Former Employees w.r.t. their tenure </a:t>
            </a:r>
            <a:endParaRPr lang="en-US" sz="1200" b="1" dirty="0">
              <a:latin typeface="Arial (Body)"/>
            </a:endParaRPr>
          </a:p>
        </p:txBody>
      </p:sp>
      <p:graphicFrame>
        <p:nvGraphicFramePr>
          <p:cNvPr id="418" name="Chart 417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42556766"/>
              </p:ext>
            </p:extLst>
          </p:nvPr>
        </p:nvGraphicFramePr>
        <p:xfrm>
          <a:off x="155575" y="1171575"/>
          <a:ext cx="4638675" cy="1890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cxnSp>
        <p:nvCxnSpPr>
          <p:cNvPr id="46" name="Straight Connector 45"/>
          <p:cNvCxnSpPr/>
          <p:nvPr>
            <p:custDataLst>
              <p:tags r:id="rId5"/>
            </p:custDataLst>
          </p:nvPr>
        </p:nvCxnSpPr>
        <p:spPr bwMode="auto">
          <a:xfrm flipH="1">
            <a:off x="4749800" y="2193924"/>
            <a:ext cx="79375" cy="698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854575" y="2727325"/>
            <a:ext cx="115411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738D61B0-3C48-49F3-8B14-68D632546B3C}" type="datetime'Co''mp''en''''''sation'''' ''&amp; ''''Ben''e''f''''''''''its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Compensation &amp; Benefits</a:t>
            </a:fld>
            <a:endParaRPr lang="en-US" sz="800" dirty="0">
              <a:sym typeface="+mn-lt"/>
            </a:endParaRPr>
          </a:p>
        </p:txBody>
      </p:sp>
      <p:sp>
        <p:nvSpPr>
          <p:cNvPr id="263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308100" y="3011488"/>
            <a:ext cx="109538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5D024974-4714-41A3-A922-84BC967A2D28}" type="datetime'''''''1'''''' ''''''''''t''o'''''' ''''''''''''3 ''y''rs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 to 3 yrs</a:t>
            </a:fld>
            <a:endParaRPr lang="en-US" sz="800" dirty="0">
              <a:sym typeface="+mn-lt"/>
            </a:endParaRPr>
          </a:p>
        </p:txBody>
      </p:sp>
      <p:sp>
        <p:nvSpPr>
          <p:cNvPr id="99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854575" y="2139950"/>
            <a:ext cx="9477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B35EB94C-BED1-490E-A340-B32F35CAAB94}" type="datetime'C''''ar''e''er O''''''''''p''''''''por''''tu''ni''ti''es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Career Opportunities</a:t>
            </a:fld>
            <a:endParaRPr lang="en-US" sz="800" dirty="0">
              <a:sym typeface="+mn-lt"/>
            </a:endParaRPr>
          </a:p>
        </p:txBody>
      </p:sp>
      <p:sp>
        <p:nvSpPr>
          <p:cNvPr id="109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854575" y="1897063"/>
            <a:ext cx="8302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D27A9559-0A2E-4AB5-AF1B-9C5FAED90CC9}" type="datetime'''''''''''Se''''''''nior'' ''''''''''''L''e''ad''''ersh''ip''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Senior Leadership</a:t>
            </a:fld>
            <a:endParaRPr lang="en-US" sz="800" dirty="0">
              <a:sym typeface="+mn-lt"/>
            </a:endParaRPr>
          </a:p>
        </p:txBody>
      </p:sp>
      <p:sp>
        <p:nvSpPr>
          <p:cNvPr id="110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854575" y="2300288"/>
            <a:ext cx="8286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CE1EC75D-D6EC-4122-98AF-7DED480FFEC6}" type="datetime'Work ''L''''i''''''''''''f''e'''' Bal''a''''''nc''''e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Work Life Balance</a:t>
            </a:fld>
            <a:endParaRPr lang="en-US" sz="800" dirty="0">
              <a:sym typeface="+mn-lt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854575" y="1736725"/>
            <a:ext cx="7159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80D6E849-BD8E-488E-82B6-8BDCDA0CA522}" type="datetime'''''''''Cul''''tu''''re ''''''''''''&amp; ''''''''Val''ue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Culture &amp; Value</a:t>
            </a:fld>
            <a:endParaRPr lang="en-US" sz="800" dirty="0">
              <a:sym typeface="+mn-lt"/>
            </a:endParaRPr>
          </a:p>
        </p:txBody>
      </p:sp>
      <p:sp>
        <p:nvSpPr>
          <p:cNvPr id="271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657725" y="3011488"/>
            <a:ext cx="109538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73E086BC-1095-4AC4-ABDD-F8AFEBB54424}" type="datetime'''''''''''&gt;'''''''' ''''''10 ''''Y''''''''''''''''r''''s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&gt; 10 Yrs</a:t>
            </a:fld>
            <a:endParaRPr lang="en-US" sz="800" dirty="0">
              <a:sym typeface="+mn-lt"/>
            </a:endParaRPr>
          </a:p>
        </p:txBody>
      </p:sp>
      <p:sp>
        <p:nvSpPr>
          <p:cNvPr id="261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69900" y="3011488"/>
            <a:ext cx="1095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dirty="0" smtClean="0">
                <a:sym typeface="+mn-lt"/>
              </a:rPr>
              <a:t>&lt; 1 </a:t>
            </a:r>
            <a:r>
              <a:rPr lang="en-US" sz="800" dirty="0" err="1" smtClean="0">
                <a:sym typeface="+mn-lt"/>
              </a:rPr>
              <a:t>Yr</a:t>
            </a:r>
            <a:endParaRPr lang="en-US" sz="800" dirty="0">
              <a:sym typeface="+mn-lt"/>
            </a:endParaRPr>
          </a:p>
        </p:txBody>
      </p:sp>
      <p:sp>
        <p:nvSpPr>
          <p:cNvPr id="26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144713" y="3011488"/>
            <a:ext cx="109538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6681AF0D-0F92-4482-B307-63A2EE99D13E}" type="datetime'3'''''''''''''' ''''''''''t''o 5 ''y''''''''r''s''''''''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 to 5 yrs</a:t>
            </a:fld>
            <a:endParaRPr lang="en-US" sz="800" dirty="0">
              <a:sym typeface="+mn-lt"/>
            </a:endParaRPr>
          </a:p>
        </p:txBody>
      </p:sp>
      <p:sp>
        <p:nvSpPr>
          <p:cNvPr id="26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982913" y="3011488"/>
            <a:ext cx="10953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542E88DD-4BBD-43C1-AAB1-355C7B363DED}" type="datetime'5 to'''''''''''''''' ''8'''''''' ''''Yr''''''''''s''''''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 to 8 Yrs</a:t>
            </a:fld>
            <a:endParaRPr lang="en-US" sz="800" dirty="0">
              <a:sym typeface="+mn-lt"/>
            </a:endParaRPr>
          </a:p>
        </p:txBody>
      </p:sp>
      <p:sp>
        <p:nvSpPr>
          <p:cNvPr id="269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819525" y="3011488"/>
            <a:ext cx="109538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14E78C2D-076F-4243-81C2-87FBB6A24B42}" type="datetime'''8 ''to ''1''0 ''''''''''''''''''''''''''''Yr''''''s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 to 10 Yrs</a:t>
            </a:fld>
            <a:endParaRPr lang="en-US" sz="800" dirty="0">
              <a:sym typeface="+mn-lt"/>
            </a:endParaRPr>
          </a:p>
        </p:txBody>
      </p:sp>
      <p:sp>
        <p:nvSpPr>
          <p:cNvPr id="372" name="TextBox 32"/>
          <p:cNvSpPr txBox="1"/>
          <p:nvPr/>
        </p:nvSpPr>
        <p:spPr>
          <a:xfrm>
            <a:off x="6637338" y="649288"/>
            <a:ext cx="4281488" cy="461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Each segment rating difference between Current and </a:t>
            </a:r>
          </a:p>
          <a:p>
            <a:r>
              <a:rPr lang="en-US" sz="1200" b="1" dirty="0" smtClean="0">
                <a:latin typeface="Arial (Body)"/>
              </a:rPr>
              <a:t>Former Employees w.r.t. their tenure for US</a:t>
            </a:r>
            <a:endParaRPr lang="en-US" sz="1200" b="1" dirty="0">
              <a:latin typeface="Arial (Body)"/>
            </a:endParaRPr>
          </a:p>
        </p:txBody>
      </p:sp>
      <p:graphicFrame>
        <p:nvGraphicFramePr>
          <p:cNvPr id="411" name="Chart 410"/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509821511"/>
              </p:ext>
            </p:extLst>
          </p:nvPr>
        </p:nvGraphicFramePr>
        <p:xfrm>
          <a:off x="6554788" y="1171575"/>
          <a:ext cx="3716337" cy="1890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384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828088" y="3011488"/>
            <a:ext cx="10953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DEE066F7-79D0-4DA7-A813-031865A694AF}" type="datetime'''''''''''''5'''''''' t''''o ''8'''''''''''''' Y''r''''''s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 to 8 Yrs</a:t>
            </a:fld>
            <a:endParaRPr lang="en-US" sz="800" dirty="0">
              <a:sym typeface="+mn-lt"/>
            </a:endParaRPr>
          </a:p>
        </p:txBody>
      </p:sp>
      <p:sp>
        <p:nvSpPr>
          <p:cNvPr id="377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331450" y="2332038"/>
            <a:ext cx="9477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7A5869A5-59A8-4E18-B88C-99A3AB726DD9}" type="datetime'''C''''''''ar''''''e''e''r Opp''or''tun''''it''i''''''es''''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Career Opportunities</a:t>
            </a:fld>
            <a:endParaRPr lang="en-US" sz="800" dirty="0">
              <a:sym typeface="+mn-lt"/>
            </a:endParaRPr>
          </a:p>
        </p:txBody>
      </p:sp>
      <p:sp>
        <p:nvSpPr>
          <p:cNvPr id="38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869113" y="3011488"/>
            <a:ext cx="109538" cy="757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A1002813-A424-4329-8FCF-4688524CE07C}" type="datetime'''Less'' ''''''th''''''''''''a''''''n a y''e''''''''a''r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Less than a year</a:t>
            </a:fld>
            <a:endParaRPr lang="en-US" sz="800" dirty="0">
              <a:sym typeface="+mn-lt"/>
            </a:endParaRPr>
          </a:p>
        </p:txBody>
      </p:sp>
      <p:sp>
        <p:nvSpPr>
          <p:cNvPr id="376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521575" y="3011488"/>
            <a:ext cx="109538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F75205E3-325E-401D-9085-792A49169457}" type="datetime'''1'' t''''''o'' ''''''''3 ''''''y''''''''''r''''''''s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 to 3 yrs</a:t>
            </a:fld>
            <a:endParaRPr lang="en-US" sz="800" dirty="0">
              <a:sym typeface="+mn-lt"/>
            </a:endParaRPr>
          </a:p>
        </p:txBody>
      </p:sp>
      <p:sp>
        <p:nvSpPr>
          <p:cNvPr id="381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0134600" y="3011488"/>
            <a:ext cx="109538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35BC7AA2-DF2F-48F7-83D1-3AC6F94B9381}" type="datetime'''&gt;'''''''' ''''10'''' ''''''Y''''''''''r''''''''''s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&gt; 10 Yrs</a:t>
            </a:fld>
            <a:endParaRPr lang="en-US" sz="800" dirty="0">
              <a:sym typeface="+mn-lt"/>
            </a:endParaRPr>
          </a:p>
        </p:txBody>
      </p:sp>
      <p:sp>
        <p:nvSpPr>
          <p:cNvPr id="383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175625" y="3011488"/>
            <a:ext cx="109538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C1B2182B-84F9-404F-9E1A-FA0CA499048F}" type="datetime'3'''' ''to'' ''''''''''''''''''''''''''5'' y''rs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 to 5 yrs</a:t>
            </a:fld>
            <a:endParaRPr lang="en-US" sz="800" dirty="0">
              <a:sym typeface="+mn-lt"/>
            </a:endParaRPr>
          </a:p>
        </p:txBody>
      </p:sp>
      <p:sp>
        <p:nvSpPr>
          <p:cNvPr id="385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482138" y="3011488"/>
            <a:ext cx="109538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252A1376-B8CD-431F-8F2C-8B88C6DE4BFB}" type="datetime'''8'''''''''' t''''o'''' ''10'' Y''''''''''r''''s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 to 10 Yrs</a:t>
            </a:fld>
            <a:endParaRPr lang="en-US" sz="800" dirty="0">
              <a:sym typeface="+mn-lt"/>
            </a:endParaRPr>
          </a:p>
        </p:txBody>
      </p:sp>
      <p:sp>
        <p:nvSpPr>
          <p:cNvPr id="374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331450" y="2830513"/>
            <a:ext cx="115411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D814E63F-C7D4-4016-B846-342E0820A9D0}" type="datetime'''''''''''''C''om''''pensa''''''t''''io''n ''''&amp; Benefit''''s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Compensation &amp; Benefits</a:t>
            </a:fld>
            <a:endParaRPr lang="en-US" sz="800" dirty="0">
              <a:sym typeface="+mn-lt"/>
            </a:endParaRPr>
          </a:p>
        </p:txBody>
      </p:sp>
      <p:sp>
        <p:nvSpPr>
          <p:cNvPr id="378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0331450" y="1876425"/>
            <a:ext cx="8302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1A07E220-ED37-436F-BEA4-E0E22BA61C70}" type="datetime'''S''e''n''ior'' L''e''a''''de''''rs''''''''hi''''''''p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Senior Leadership</a:t>
            </a:fld>
            <a:endParaRPr lang="en-US" sz="800" dirty="0">
              <a:sym typeface="+mn-lt"/>
            </a:endParaRPr>
          </a:p>
        </p:txBody>
      </p:sp>
      <p:sp>
        <p:nvSpPr>
          <p:cNvPr id="379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0331450" y="2171700"/>
            <a:ext cx="8286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22A8671C-C355-4406-B441-F1E94C0B9350}" type="datetime'''''W''o''''rk L''''if''''e ''''''Ba''''''''l''''''a''n''c''e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Work Life Balance</a:t>
            </a:fld>
            <a:endParaRPr lang="en-US" sz="800" dirty="0">
              <a:sym typeface="+mn-lt"/>
            </a:endParaRPr>
          </a:p>
        </p:txBody>
      </p:sp>
      <p:sp>
        <p:nvSpPr>
          <p:cNvPr id="380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0331450" y="1716088"/>
            <a:ext cx="7159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D7BE3543-2140-466C-8872-07FD9569504B}" type="datetime'''''''Cu''lt''ure'' ''''''&amp; V''a''''''''''''''l''''''ue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Culture &amp; Value</a:t>
            </a:fld>
            <a:endParaRPr lang="en-US" sz="800" dirty="0">
              <a:sym typeface="+mn-lt"/>
            </a:endParaRPr>
          </a:p>
        </p:txBody>
      </p:sp>
      <p:sp>
        <p:nvSpPr>
          <p:cNvPr id="393" name="TextBox 32"/>
          <p:cNvSpPr txBox="1"/>
          <p:nvPr/>
        </p:nvSpPr>
        <p:spPr>
          <a:xfrm>
            <a:off x="2551113" y="3927475"/>
            <a:ext cx="4281488" cy="461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Each segment rating difference between Current and </a:t>
            </a:r>
          </a:p>
          <a:p>
            <a:r>
              <a:rPr lang="en-US" sz="1200" b="1" dirty="0" smtClean="0">
                <a:latin typeface="Arial (Body)"/>
              </a:rPr>
              <a:t>Former Employees w.r.t. their tenure for India</a:t>
            </a:r>
            <a:endParaRPr lang="en-US" sz="1200" b="1" dirty="0">
              <a:latin typeface="Arial (Body)"/>
            </a:endParaRPr>
          </a:p>
        </p:txBody>
      </p:sp>
      <p:graphicFrame>
        <p:nvGraphicFramePr>
          <p:cNvPr id="420" name="Chart 419"/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4016669821"/>
              </p:ext>
            </p:extLst>
          </p:nvPr>
        </p:nvGraphicFramePr>
        <p:xfrm>
          <a:off x="2468563" y="4449763"/>
          <a:ext cx="3716337" cy="1773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cxnSp>
        <p:nvCxnSpPr>
          <p:cNvPr id="44" name="Straight Connector 43"/>
          <p:cNvCxnSpPr/>
          <p:nvPr>
            <p:custDataLst>
              <p:tags r:id="rId30"/>
            </p:custDataLst>
          </p:nvPr>
        </p:nvCxnSpPr>
        <p:spPr bwMode="auto">
          <a:xfrm flipH="1">
            <a:off x="6140450" y="4802187"/>
            <a:ext cx="79375" cy="76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>
            <p:custDataLst>
              <p:tags r:id="rId31"/>
            </p:custDataLst>
          </p:nvPr>
        </p:nvCxnSpPr>
        <p:spPr bwMode="auto">
          <a:xfrm flipH="1">
            <a:off x="6140450" y="5200650"/>
            <a:ext cx="79375" cy="793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>
            <p:custDataLst>
              <p:tags r:id="rId32"/>
            </p:custDataLst>
          </p:nvPr>
        </p:nvCxnSpPr>
        <p:spPr bwMode="auto">
          <a:xfrm flipH="1" flipV="1">
            <a:off x="6140450" y="5280025"/>
            <a:ext cx="79375" cy="80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5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741863" y="6172200"/>
            <a:ext cx="10953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0C3B630C-46C5-464C-BAFC-E4FD600C0280}" type="datetime'''5'''''' t''''''''''''o 8'''''''''''' Y''r''''''''''s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 to 8 Yrs</a:t>
            </a:fld>
            <a:endParaRPr lang="en-US" sz="800" dirty="0">
              <a:sym typeface="+mn-lt"/>
            </a:endParaRPr>
          </a:p>
        </p:txBody>
      </p:sp>
      <p:sp>
        <p:nvSpPr>
          <p:cNvPr id="396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245225" y="5146675"/>
            <a:ext cx="9477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37318D13-243A-4954-A501-94715FFED5B5}" type="datetime'Car''e''e''''''''r'''''''''' ''''''''Op''po''r''''tu''nities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Career Opportunities</a:t>
            </a:fld>
            <a:endParaRPr lang="en-US" sz="800" dirty="0">
              <a:sym typeface="+mn-lt"/>
            </a:endParaRPr>
          </a:p>
        </p:txBody>
      </p:sp>
      <p:sp>
        <p:nvSpPr>
          <p:cNvPr id="397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2782888" y="6172200"/>
            <a:ext cx="1095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dirty="0" smtClean="0">
                <a:sym typeface="+mn-lt"/>
              </a:rPr>
              <a:t>&lt; 1 </a:t>
            </a:r>
            <a:r>
              <a:rPr lang="en-US" sz="800" dirty="0" err="1" smtClean="0">
                <a:sym typeface="+mn-lt"/>
              </a:rPr>
              <a:t>Yr</a:t>
            </a:r>
            <a:endParaRPr lang="en-US" sz="800" dirty="0">
              <a:sym typeface="+mn-lt"/>
            </a:endParaRPr>
          </a:p>
        </p:txBody>
      </p:sp>
      <p:sp>
        <p:nvSpPr>
          <p:cNvPr id="398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435350" y="6172200"/>
            <a:ext cx="109538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DBDADF2-8CB5-47F9-9AD4-CBFAA0BBD0F9}" type="datetime'''1 ''to'''''''''''''''''''''''''''' ''''''''''3'' y''''rs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 to 3 yrs</a:t>
            </a:fld>
            <a:endParaRPr lang="en-US" sz="800" dirty="0">
              <a:sym typeface="+mn-lt"/>
            </a:endParaRPr>
          </a:p>
        </p:txBody>
      </p:sp>
      <p:sp>
        <p:nvSpPr>
          <p:cNvPr id="402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245225" y="5972175"/>
            <a:ext cx="115411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A0BE5EC7-9822-48E3-B5C9-BFF9C097564C}" type="datetime'''''Com''''pensa''''''''''''tion'' ''''&amp; B''enef''i''t''''s''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Compensation &amp; Benefits</a:t>
            </a:fld>
            <a:endParaRPr lang="en-US" sz="800" dirty="0">
              <a:sym typeface="+mn-lt"/>
            </a:endParaRPr>
          </a:p>
        </p:txBody>
      </p:sp>
      <p:sp>
        <p:nvSpPr>
          <p:cNvPr id="400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089400" y="6172200"/>
            <a:ext cx="109538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C0EC2508-AF50-4E7B-A6FB-2934531725D8}" type="datetime'''''''''''''''''''''''''3'''' t''''o ''''5'' ''yr''''s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 to 5 yrs</a:t>
            </a:fld>
            <a:endParaRPr lang="en-US" sz="800" dirty="0">
              <a:sym typeface="+mn-lt"/>
            </a:endParaRPr>
          </a:p>
        </p:txBody>
      </p:sp>
      <p:sp>
        <p:nvSpPr>
          <p:cNvPr id="401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395913" y="6172200"/>
            <a:ext cx="109538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8B1DFB82-A613-477C-9559-CC0A02323D27}" type="datetime'''''''8'' ''t''o'' 1''0'''''''''' ''''''Y''r''s''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 to 10 Yrs</a:t>
            </a:fld>
            <a:endParaRPr lang="en-US" sz="800" dirty="0">
              <a:sym typeface="+mn-lt"/>
            </a:endParaRPr>
          </a:p>
        </p:txBody>
      </p:sp>
      <p:sp>
        <p:nvSpPr>
          <p:cNvPr id="399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6048375" y="6172200"/>
            <a:ext cx="109538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45C43B94-8523-4250-BC97-36B194C89B25}" type="datetime'&gt; ''''''''''''10 ''''''''''Y''r''''''''''''''''''s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&gt; 10 Yrs</a:t>
            </a:fld>
            <a:endParaRPr lang="en-US" sz="800" dirty="0">
              <a:sym typeface="+mn-lt"/>
            </a:endParaRPr>
          </a:p>
        </p:txBody>
      </p:sp>
      <p:sp>
        <p:nvSpPr>
          <p:cNvPr id="403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6245225" y="4748213"/>
            <a:ext cx="8302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D94B4A4B-D166-4691-A6ED-35A657617441}" type="datetime'''''''S''e''nior'' ''L''ead''''''e''''''''''rs''''hi''''p''''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Senior Leadership</a:t>
            </a:fld>
            <a:endParaRPr lang="en-US" sz="800" dirty="0">
              <a:sym typeface="+mn-lt"/>
            </a:endParaRPr>
          </a:p>
        </p:txBody>
      </p:sp>
      <p:sp>
        <p:nvSpPr>
          <p:cNvPr id="404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6245225" y="5307013"/>
            <a:ext cx="8286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CE1E273A-08C8-45F9-9D8C-22CD9EDDA471}" type="datetime'''W''o''''r''''''''''''k ''Li''''''f''''e'' ''B''al''''ance''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Work Life Balance</a:t>
            </a:fld>
            <a:endParaRPr lang="en-US" sz="800" dirty="0">
              <a:sym typeface="+mn-lt"/>
            </a:endParaRPr>
          </a:p>
        </p:txBody>
      </p:sp>
      <p:sp>
        <p:nvSpPr>
          <p:cNvPr id="405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6245225" y="4986338"/>
            <a:ext cx="7159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FB60D026-4CFA-4CCA-B3F4-920926CDDE1A}" type="datetime'''''''''''''C''u''''l''''tu''r''''e ''''''''&amp;'' Valu''e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Culture &amp; Value</a:t>
            </a:fld>
            <a:endParaRPr lang="en-US" sz="8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45150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3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s about the Compan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7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472266" y="1116482"/>
            <a:ext cx="516218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Pros: </a:t>
            </a:r>
            <a:r>
              <a:rPr lang="en-US" b="1" dirty="0" smtClean="0"/>
              <a:t>Things which Employees liked – </a:t>
            </a:r>
          </a:p>
          <a:p>
            <a:endParaRPr lang="en-US" b="1" dirty="0"/>
          </a:p>
          <a:p>
            <a:r>
              <a:rPr lang="en-US" dirty="0" smtClean="0"/>
              <a:t>According to Employees feedback, we found out that people love our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Benefits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Work </a:t>
            </a:r>
            <a:r>
              <a:rPr lang="en-US" sz="1600" b="1" dirty="0">
                <a:solidFill>
                  <a:srgbClr val="00B050"/>
                </a:solidFill>
              </a:rPr>
              <a:t>Life Balance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Good Company</a:t>
            </a:r>
            <a:r>
              <a:rPr lang="en-US" sz="1600" dirty="0" smtClean="0">
                <a:solidFill>
                  <a:srgbClr val="00B050"/>
                </a:solidFill>
              </a:rPr>
              <a:t>,</a:t>
            </a:r>
            <a:r>
              <a:rPr lang="en-US" sz="1600" b="1" dirty="0" smtClean="0">
                <a:solidFill>
                  <a:srgbClr val="00B050"/>
                </a:solidFill>
              </a:rPr>
              <a:t> Good People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00B050"/>
                </a:solidFill>
              </a:rPr>
              <a:t>Opportunities</a:t>
            </a:r>
            <a:r>
              <a:rPr lang="en-US" sz="1600" dirty="0" smtClean="0"/>
              <a:t> provided by S&amp;P and they are spreading good words on this front.</a:t>
            </a:r>
            <a:endParaRPr lang="en-US" dirty="0" smtClean="0"/>
          </a:p>
        </p:txBody>
      </p:sp>
      <p:sp>
        <p:nvSpPr>
          <p:cNvPr id="18" name="TextBox 32"/>
          <p:cNvSpPr txBox="1"/>
          <p:nvPr/>
        </p:nvSpPr>
        <p:spPr>
          <a:xfrm>
            <a:off x="6574971" y="1116482"/>
            <a:ext cx="552994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D6002A"/>
                </a:solidFill>
                <a:latin typeface="Arial (Body)"/>
              </a:rPr>
              <a:t>Cons:</a:t>
            </a:r>
            <a:r>
              <a:rPr lang="en-US" b="1" dirty="0" smtClean="0">
                <a:solidFill>
                  <a:srgbClr val="FF0000"/>
                </a:solidFill>
                <a:latin typeface="Arial (Body)"/>
              </a:rPr>
              <a:t> </a:t>
            </a:r>
            <a:r>
              <a:rPr lang="en-US" b="1" dirty="0" smtClean="0"/>
              <a:t>Word List which Employees don’t like –</a:t>
            </a:r>
          </a:p>
          <a:p>
            <a:endParaRPr lang="en-US" dirty="0"/>
          </a:p>
          <a:p>
            <a:r>
              <a:rPr lang="en-US" dirty="0" smtClean="0"/>
              <a:t>Feedback provided by the Employees they found out to difficulty to cope up with </a:t>
            </a:r>
            <a:r>
              <a:rPr lang="en-US" sz="1600" b="1" dirty="0">
                <a:solidFill>
                  <a:srgbClr val="D6002A"/>
                </a:solidFill>
              </a:rPr>
              <a:t>Opportunities, </a:t>
            </a:r>
            <a:r>
              <a:rPr lang="en-US" sz="1600" b="1" dirty="0" smtClean="0">
                <a:solidFill>
                  <a:srgbClr val="D6002A"/>
                </a:solidFill>
              </a:rPr>
              <a:t>Work Life</a:t>
            </a:r>
            <a:r>
              <a:rPr lang="en-US" sz="1600" dirty="0" smtClean="0">
                <a:solidFill>
                  <a:srgbClr val="D6002A"/>
                </a:solidFill>
              </a:rPr>
              <a:t>, </a:t>
            </a:r>
            <a:r>
              <a:rPr lang="en-US" sz="1600" b="1" dirty="0" smtClean="0">
                <a:solidFill>
                  <a:srgbClr val="D6002A"/>
                </a:solidFill>
              </a:rPr>
              <a:t>senior management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HR </a:t>
            </a:r>
            <a:r>
              <a:rPr lang="en-US" sz="1600" b="1" dirty="0">
                <a:solidFill>
                  <a:srgbClr val="D6002A"/>
                </a:solidFill>
              </a:rPr>
              <a:t>Processes 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Monotonous </a:t>
            </a:r>
            <a:r>
              <a:rPr lang="en-US" sz="1600" b="1" dirty="0">
                <a:solidFill>
                  <a:srgbClr val="D6002A"/>
                </a:solidFill>
              </a:rPr>
              <a:t>Work ,</a:t>
            </a:r>
            <a:r>
              <a:rPr lang="en-US" sz="1600" dirty="0" smtClean="0"/>
              <a:t> </a:t>
            </a:r>
            <a:r>
              <a:rPr lang="en-US" sz="1600" b="1" dirty="0">
                <a:solidFill>
                  <a:srgbClr val="D6002A"/>
                </a:solidFill>
              </a:rPr>
              <a:t>Growth 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Promotions</a:t>
            </a:r>
            <a:r>
              <a:rPr lang="en-US" sz="1600" dirty="0" smtClean="0">
                <a:solidFill>
                  <a:srgbClr val="D6002A"/>
                </a:solidFill>
              </a:rPr>
              <a:t>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D6002A"/>
                </a:solidFill>
              </a:rPr>
              <a:t>Layoffs</a:t>
            </a:r>
            <a:r>
              <a:rPr lang="en-US" sz="1600" dirty="0" smtClean="0"/>
              <a:t> and this can be improved.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1006" y="3063093"/>
            <a:ext cx="3298093" cy="333759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18817" y="2983587"/>
            <a:ext cx="3877132" cy="3694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374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5772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75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op 3 Themes – For Pros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8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130630" y="866181"/>
            <a:ext cx="119917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 smtClean="0"/>
              <a:t>We identified three themes, based on word occurrence in collection of positive comments and closeness from other words (Statistically), Which employees liked</a:t>
            </a:r>
          </a:p>
        </p:txBody>
      </p:sp>
      <p:sp>
        <p:nvSpPr>
          <p:cNvPr id="14" name="TextBox 32"/>
          <p:cNvSpPr txBox="1"/>
          <p:nvPr/>
        </p:nvSpPr>
        <p:spPr>
          <a:xfrm>
            <a:off x="265376" y="1749534"/>
            <a:ext cx="37150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1: </a:t>
            </a:r>
            <a:r>
              <a:rPr lang="en-US" sz="1600" dirty="0"/>
              <a:t>Respect to Personal </a:t>
            </a:r>
            <a:r>
              <a:rPr lang="en-US" sz="1600" dirty="0" smtClean="0"/>
              <a:t>Life</a:t>
            </a:r>
          </a:p>
          <a:p>
            <a:r>
              <a:rPr lang="en-US" sz="1600" dirty="0" smtClean="0"/>
              <a:t>(Work Life balance, Work and Benefits)</a:t>
            </a:r>
            <a:endParaRPr lang="en-US" sz="1600" dirty="0"/>
          </a:p>
        </p:txBody>
      </p:sp>
      <p:sp>
        <p:nvSpPr>
          <p:cNvPr id="16" name="TextBox 32"/>
          <p:cNvSpPr txBox="1"/>
          <p:nvPr/>
        </p:nvSpPr>
        <p:spPr>
          <a:xfrm>
            <a:off x="4152618" y="1749534"/>
            <a:ext cx="34821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2:</a:t>
            </a:r>
            <a:r>
              <a:rPr lang="en-US" sz="1600" b="1" dirty="0"/>
              <a:t> </a:t>
            </a:r>
            <a:r>
              <a:rPr lang="en-US" sz="1600" dirty="0"/>
              <a:t>Financial </a:t>
            </a:r>
            <a:r>
              <a:rPr lang="en-US" sz="1600" dirty="0" smtClean="0"/>
              <a:t>Oriented   </a:t>
            </a:r>
            <a:r>
              <a:rPr lang="en-US" sz="1600" dirty="0"/>
              <a:t>(Benefits</a:t>
            </a:r>
            <a:r>
              <a:rPr lang="en-US" sz="1600" dirty="0" smtClean="0"/>
              <a:t>, Pay, Salary, Flexibility, Standard Pension etc.)</a:t>
            </a:r>
            <a:endParaRPr lang="en-US" sz="1600" dirty="0"/>
          </a:p>
        </p:txBody>
      </p:sp>
      <p:sp>
        <p:nvSpPr>
          <p:cNvPr id="17" name="TextBox 32"/>
          <p:cNvSpPr txBox="1"/>
          <p:nvPr/>
        </p:nvSpPr>
        <p:spPr>
          <a:xfrm>
            <a:off x="8192050" y="1749534"/>
            <a:ext cx="38519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3: </a:t>
            </a:r>
            <a:r>
              <a:rPr lang="en-US" sz="1600" dirty="0"/>
              <a:t>Equity Brand </a:t>
            </a:r>
            <a:endParaRPr lang="en-US" sz="1600" dirty="0" smtClean="0"/>
          </a:p>
          <a:p>
            <a:r>
              <a:rPr lang="en-US" sz="1600" dirty="0" smtClean="0"/>
              <a:t>( Company</a:t>
            </a:r>
            <a:r>
              <a:rPr lang="en-US" sz="1600" dirty="0"/>
              <a:t>, Brand, </a:t>
            </a:r>
            <a:r>
              <a:rPr lang="en-US" sz="1600" dirty="0" smtClean="0"/>
              <a:t>Opportunity, Management, Global Company etc.)</a:t>
            </a:r>
            <a:endParaRPr lang="en-US" sz="1600" b="1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/>
          <a:srcRect t="9607" b="12482"/>
          <a:stretch/>
        </p:blipFill>
        <p:spPr>
          <a:xfrm>
            <a:off x="214233" y="3056708"/>
            <a:ext cx="3766224" cy="312637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96891" y="2771207"/>
            <a:ext cx="3993560" cy="371045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90451" y="2600322"/>
            <a:ext cx="4075828" cy="3765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235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1926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73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op 3 Themes – For Cons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9</a:t>
            </a:fld>
            <a:endParaRPr lang="en-US" dirty="0"/>
          </a:p>
        </p:txBody>
      </p:sp>
      <p:sp>
        <p:nvSpPr>
          <p:cNvPr id="14" name="TextBox 32"/>
          <p:cNvSpPr txBox="1"/>
          <p:nvPr/>
        </p:nvSpPr>
        <p:spPr>
          <a:xfrm>
            <a:off x="153193" y="1722286"/>
            <a:ext cx="38624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1: </a:t>
            </a:r>
            <a:r>
              <a:rPr lang="en-US" sz="1600" dirty="0" smtClean="0"/>
              <a:t>Upper Management </a:t>
            </a:r>
          </a:p>
          <a:p>
            <a:r>
              <a:rPr lang="en-US" sz="1600" dirty="0"/>
              <a:t>(</a:t>
            </a:r>
            <a:r>
              <a:rPr lang="en-US" sz="1600" dirty="0" smtClean="0"/>
              <a:t>Management</a:t>
            </a:r>
            <a:r>
              <a:rPr lang="en-US" sz="1600" dirty="0"/>
              <a:t>, </a:t>
            </a:r>
            <a:r>
              <a:rPr lang="en-US" sz="1600" dirty="0" smtClean="0"/>
              <a:t>Company, Employees</a:t>
            </a:r>
            <a:r>
              <a:rPr lang="en-US" sz="1600" smtClean="0"/>
              <a:t>, time </a:t>
            </a:r>
            <a:r>
              <a:rPr lang="en-US" sz="1600" dirty="0" smtClean="0"/>
              <a:t>etc.)</a:t>
            </a:r>
            <a:endParaRPr lang="en-US" sz="1600" dirty="0"/>
          </a:p>
        </p:txBody>
      </p:sp>
      <p:sp>
        <p:nvSpPr>
          <p:cNvPr id="17" name="TextBox 32"/>
          <p:cNvSpPr txBox="1"/>
          <p:nvPr/>
        </p:nvSpPr>
        <p:spPr>
          <a:xfrm>
            <a:off x="4015625" y="1726636"/>
            <a:ext cx="38706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2:</a:t>
            </a:r>
            <a:r>
              <a:rPr lang="en-US" sz="1600" dirty="0" smtClean="0"/>
              <a:t> Immediate Team and Process</a:t>
            </a:r>
            <a:endParaRPr lang="en-US" sz="1600" b="1" dirty="0" smtClean="0"/>
          </a:p>
          <a:p>
            <a:r>
              <a:rPr lang="en-US" sz="1600" dirty="0" smtClean="0"/>
              <a:t>(People, Managers, Process etc.)</a:t>
            </a:r>
            <a:endParaRPr lang="en-US" sz="1600" dirty="0"/>
          </a:p>
        </p:txBody>
      </p:sp>
      <p:sp>
        <p:nvSpPr>
          <p:cNvPr id="19" name="TextBox 32"/>
          <p:cNvSpPr txBox="1"/>
          <p:nvPr/>
        </p:nvSpPr>
        <p:spPr>
          <a:xfrm>
            <a:off x="8129165" y="1739695"/>
            <a:ext cx="4027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3: </a:t>
            </a:r>
            <a:r>
              <a:rPr lang="en-US" sz="1600" dirty="0" smtClean="0"/>
              <a:t>Growth</a:t>
            </a:r>
          </a:p>
          <a:p>
            <a:r>
              <a:rPr lang="en-US" sz="1600" dirty="0"/>
              <a:t>(Work, </a:t>
            </a:r>
            <a:r>
              <a:rPr lang="en-US" sz="1600" dirty="0" smtClean="0"/>
              <a:t>Growth, Opportunities, Promotions, Compensation, Politics etc.)</a:t>
            </a:r>
            <a:endParaRPr lang="en-US" sz="1600" dirty="0"/>
          </a:p>
        </p:txBody>
      </p:sp>
      <p:sp>
        <p:nvSpPr>
          <p:cNvPr id="20" name="TextBox 32"/>
          <p:cNvSpPr txBox="1"/>
          <p:nvPr/>
        </p:nvSpPr>
        <p:spPr>
          <a:xfrm>
            <a:off x="200298" y="867379"/>
            <a:ext cx="119917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 smtClean="0"/>
              <a:t>We identified three themes based on word occurrence in collection of negative comments and closeness from other words (Statistically), Which employees didn’t liked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7"/>
          <a:srcRect t="7933"/>
          <a:stretch/>
        </p:blipFill>
        <p:spPr>
          <a:xfrm>
            <a:off x="8038628" y="2595151"/>
            <a:ext cx="3913550" cy="367774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3193" y="2510520"/>
            <a:ext cx="3619500" cy="376237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03188" y="2510520"/>
            <a:ext cx="3330318" cy="3523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099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5.0"/>
  <p:tag name="PERSONS" val="&lt;?xml version=&quot;1.0&quot; encoding=&quot;utf-8&quot;?&gt;&lt;ArrayOfPerson xmlns:xsi=&quot;http://www.w3.org/2001/XMLSchema-instance&quot; xmlns:xsd=&quot;http://www.w3.org/2001/XMLSchema&quot; /&gt;"/>
  <p:tag name="PRESGUID" val="50b96b5e-144c-4ca7-a0a9-a25a867f20d5"/>
  <p:tag name="EDITION" val="LiveInsights"/>
  <p:tag name="ARTICULATE_DESIGN_ID_TALENT-DEVELOPMENT" val="rPUVKICP"/>
  <p:tag name="ARTICULATE_PROJECT_OPEN" val="0"/>
  <p:tag name="ARTICULATE_SLIDE_COUNT" val="17"/>
  <p:tag name="THINKCELLPRESENTATIONDONOTDELETE" val="&lt;?xml version=&quot;1.0&quot; encoding=&quot;UTF-16&quot; standalone=&quot;yes&quot;?&gt;&lt;root reqver=&quot;24162&quot;&gt;&lt;version val=&quot;270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1.00000000000000000000E+00&quot;&gt;&lt;m_msothmcolidx val=&quot;0&quot;/&gt;&lt;m_rgb r=&quot;60&quot; g=&quot;13&quot; b=&quot;59&quot;/&gt;&lt;m_nBrightness tagver0=&quot;26206&quot; tagname0=&quot;m_nBrightnessUNRECOGNIZED&quot; val=&quot;0&quot;/&gt;&lt;/elem&gt;&lt;elem m_fUsage=&quot;9.00000000000000022204E-01&quot;&gt;&lt;m_msothmcolidx val=&quot;0&quot;/&gt;&lt;m_rgb r=&quot;F2&quot; g=&quot;AE&quot; b=&quot;42&quot;/&gt;&lt;m_nBrightness tagver0=&quot;26206&quot; tagname0=&quot;m_nBrightnessUNRECOGNIZED&quot; val=&quot;0&quot;/&gt;&lt;/elem&gt;&lt;elem m_fUsage=&quot;8.10000000000000053291E-01&quot;&gt;&lt;m_msothmcolidx val=&quot;0&quot;/&gt;&lt;m_rgb r=&quot;60&quot; g=&quot;98&quot; b=&quot;BD&quot;/&gt;&lt;m_nBrightness tagver0=&quot;26206&quot; tagname0=&quot;m_nBrightnessUNRECOGNIZED&quot; val=&quot;0&quot;/&gt;&lt;/elem&gt;&lt;elem m_fUsage=&quot;7.29000000000000092371E-01&quot;&gt;&lt;m_msothmcolidx val=&quot;0&quot;/&gt;&lt;m_rgb r=&quot;0F&quot; g=&quot;2C&quot; b=&quot;5B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9I1XUdQv2_yWzIsnirX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cOcNEASl8e8Zjw_m7yd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ggaGv2yxF34eY0bSi.B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qvfA69ZP5q1k.yHHsrR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7xDX6z1ZGo2dgOigYzP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ItIjziljwvfTVy86Ek8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hzDVH0xELfcr5g63lEh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TPIrTeG40Mfx.nEAoRD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IZeFTqfD9xdxrJu1EWP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S7aEqIePd7xTZVdW8kv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vpTDc4dlGs8D4cqRqj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nNtHY_FOOFRVswyAmKW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8s8R6yIISjsqQTGNyVF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z6EWvgHI9dY.ae8746W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JGTRij61iBRiumw9txf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wJ.8BCKE.Aek6jyJsA6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Kn_ATROJzEpIXNjh1W3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77wbCz9Il7hcuzOftSd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HZfJDIjo.hXfYwXQPN7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ZgDObwAnYkzXzsXSjgK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s7Vs9p0ak.a23lF.Lf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9XEKv_SGSl5zaIWhQvg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Qkxp85VgjvD5An6uoHk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4GC3qb.piZohRc9052I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RZP48_99euy2DYufhnh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2FIStc5pUyGJ3qt19o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33XTq353umjpeygSfYZ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tF2Lv_DZgbLHe7J5ogN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7Of2q5MFv1g_UARDm6r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Dwomp2e_648K46TkI0l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0AssbrFq9KqGhfOzNCb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wH1uMaR1IZ0GJYqlZf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D689ym.Lgp_AJvfat6v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XpOMAfsiQ3mGiooBCBX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pJXwA.DuUsB.4Veie.e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vJhjB_TUtmMN1GZ1qBc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DgmA4YKWISx3Z0NDVJz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R3QBNmgekYfJUF8w8w6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G_n9rUT0eBO1AxRvtm9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jCf27h6iOpefib8bOnN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BCIF2XyyQuZv1o8O2bf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I87R5s8ZGdxO2Blwso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KM20Opmjwq1BFAfl0v6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PWsLeyMJoN4gg592qPX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rvfWXmeePp1Vw2ITXFM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LN7tKMvyztl1r8XYFq2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U7HGGPYahd5rV7Kev0N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ucplCOr2EeWrIcd8kxh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uNQc8ZlpPvgCubO.uwh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JQQSQqFHQwgq2V1se37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udOCgQDoVl0BR.M8vBL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aPacwlSBu0kkQcU5l_H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vZPXzA80N_45S.vh5EG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kjk8AqlcovFacuKTZHJ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amUI.6djfy8n.UmDC86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S06d30pFBDv69FDZKqk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K6xCkjFPS4268DRWX2w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g2PobSXmf3ABj.RGQu.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wYke0AGNo6vrSWVy5Se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DSApr5Qc1TmWkkTRwSU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FUCjD2jX8.IdWJk1TZu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YyX4RczAhjaMsPuiHrE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SYnbMc2yCj2SpABAUtF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hXxjKnSNOW3RzrUFvvS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XBimgcZ9TRAh7a6JkEE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PTHDPJhae8XnRhn.tNb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2j50mudcz62zPrKKzNt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y_iN2zyOiyAbZeK4U0A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6sPJQFpFn1dIeglIaJ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sMiRIqdeuAiT_oLD_vx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9FWgokTxCGKSlCVlnyY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oUNg5PO6ajDhA7_oivS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AECYCLlH5_aOZzfMPUq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VoPOipC.8SjfHPSsCRE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DLO7WaMz0_R3PDaf6gG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yfveUky.Xvz37Xuyr4c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zKg2n033ZFEQ4InED3K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dR5_r.C_Ld_ydGQrAdn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CHW.50CC4kubpzrMOI0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eGB4.fC.paaMDIjfi_u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NPic9K9oKzUp0asmQCJ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hDkJTnzQGz_IKzIo1B.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M.DSKuNNhI1XZxCDgbr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QFIPbByzGfsT2cicG7Z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hQhI89s4j2bzcsoP4yC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gTyGeWwV1wLH0CN7nKD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EnUldagHZkrFIk7hQd5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mTx25vBNtSioCtCtzM6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2xck7wD4QjBoimTHj5B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ffCNuLEx_igBec23wQ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2xck7wD4QjBoimTHj5B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mTx25vBNtSioCtCtzM6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gTyGeWwV1wLH0CN7nKD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hQhI89s4j2bzcsoP4yC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EnUldagHZkrFIk7hQd5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rTc6FZxYz9in_3n3R2r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EnUldagHZkrFIk7hQd5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hQhI89s4j2bzcsoP4yC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mTx25vBNtSioCtCtzM6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gTyGeWwV1wLH0CN7nKD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2xck7wD4QjBoimTHj5B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36MveIUF0zTQnXiU4Me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EnUldagHZkrFIk7hQd5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gTyGeWwV1wLH0CN7nKD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mTx25vBNtSioCtCtzM6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hQhI89s4j2bzcsoP4y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2xck7wD4QjBoimTHj5B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0DQLDYj.ejFGOBHbEXY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AgtJpSuWiKBncxzpf1q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73sutzTzqITXVsatk0s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qfOf2yTI6WFAOWKMJK1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MWIu2LRFW.fxVqPPuOJ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LW4xpQTR.db5YZYXEx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ggXJzsQHiJFG5WeadJ9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Fxm7LwSI.77QPk5.BiW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runc_CRrq7BnhWj4wRe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Lk9ZHNS5hSGyzvQBHDQ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3UG0yoqhLkVLSnYAACN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eDteA8xJOEFHNBkHMdM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SuntJvx5AL.1_Cy1ph8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Ux9M7bRtGuWRtxuvsC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utDXFxQie.z9SAiUXpM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p5rhF4QkGoGohNN96D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B3P3vR6a...YEZQtpq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msRrvnTLiV1aI9ACO1l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JI3IGtSmqJfgDp.Pd3l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9D4EjKSJeOWywaUJVLQ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ZvuT5PTmyxB2PcQBPK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3.LCvKRxaNKjdCeBYR3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Zkga.LRqmcaFXfNIvi6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FlmlaxTZeLgQ0p4iSad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CwcIPBQw2KVQfjbNBk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Or.aEqRl6.NDJTB5iY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jAM8xqSEu.WphlNhZx9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DijrN7S9G0mcw1.QUJZ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1cCrKfS7WpL7Mwueg2T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ShHqqTTVSZbvwA1IclC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qqoCMSRnyCjxFnI5Dsa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aiJEVPRzSOcGCklJbiX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Xcn4FsGFLknh3BrS_qj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7eSzXSQE.p3Dm.Sy_Rf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9cWxl6TACXEiwiBaX_a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_pcD1EQ1mYoImJWOKhK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DwEbQRQSu0CnFiok4b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JL3PEz11kmJ8Yabhx7N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NayBY.wVdHEuFMXZoqS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Mui_K10vkj5l8MEG462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CVhHoGRTDczf51afLQA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76RWhhy00FV4DeWqjRW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68rBQPZeJlow7CUvNbK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ItRckaTOfNHF6NJtr3L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tuafUvrLxuEL7KsVt1r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9ohP.itD_U87UBDa2TD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xOUtW7Bhx_F3KXhMrB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2cXQD.pMrgfis1ZPs7G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16joAwmH5Oh7PgjWLC4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i_Y4uNk9KKwt4VtJPIj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.rA3NR6nZahyw8r8F.8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AAoPBclcDlvK_RmD32m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vV.SyiwGVOVlgCNOKbc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QrngGuOlQ9D_mBcFcpa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_C4mhErCXbAIEs65UY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_Tz97g4r9Kfqa5ZFmVe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WtOSeDrB3m0AeVEGOD6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k9AoMaX9g28IlFNm3hp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DpfZpdZWsatSxbsc2p2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apwDLfqBTEGi6IRGo9X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dHB1ykyCPPfdt7me5NK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zmgAaW67p36EaqnxRNM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WsWdl3ZAzpIIkUnjDvQ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wnMhID8J4pHwrrUOwXS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mak2SHGF0jkpBlaUox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M9iPE3qWaYJoxmpPPX7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NuV8D46UgkBxirnfxaY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fzsA0tCcRdJboJTaahu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uuPYXsxxxz6r7QUcor6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DrQV8xXhOCeYf955KxG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BfpCne.MV61JkkmRmnF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WG5a.6xMyhc8wVSSaCx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p5Qo6qOZzrki4q7oWrR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ZqODc0neR1_10VrysQq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BWU.u2wpG3EIjmk9GsjQ"/>
</p:tagLst>
</file>

<file path=ppt/theme/theme1.xml><?xml version="1.0" encoding="utf-8"?>
<a:theme xmlns:a="http://schemas.openxmlformats.org/drawingml/2006/main" name="Talent-Development">
  <a:themeElements>
    <a:clrScheme name="S&amp;P Global Template Colors">
      <a:dk1>
        <a:sysClr val="windowText" lastClr="000000"/>
      </a:dk1>
      <a:lt1>
        <a:sysClr val="window" lastClr="FFFFFF"/>
      </a:lt1>
      <a:dk2>
        <a:srgbClr val="404040"/>
      </a:dk2>
      <a:lt2>
        <a:srgbClr val="DCDCDC"/>
      </a:lt2>
      <a:accent1>
        <a:srgbClr val="908EC5"/>
      </a:accent1>
      <a:accent2>
        <a:srgbClr val="9B555F"/>
      </a:accent2>
      <a:accent3>
        <a:srgbClr val="89BBA6"/>
      </a:accent3>
      <a:accent4>
        <a:srgbClr val="FAA62A"/>
      </a:accent4>
      <a:accent5>
        <a:srgbClr val="6986B1"/>
      </a:accent5>
      <a:accent6>
        <a:srgbClr val="B1C528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>
              <a:lumMod val="90000"/>
            </a:schemeClr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WATERJET">
      <a:srgbClr val="4F99C1"/>
    </a:custClr>
    <a:custClr name="DEEPBLUE">
      <a:srgbClr val="002B5F"/>
    </a:custClr>
    <a:custClr name="NAVY">
      <a:srgbClr val="002B5F"/>
    </a:custClr>
    <a:custClr name="SHERBET">
      <a:srgbClr val="DE8BA5"/>
    </a:custClr>
    <a:custClr name="BUBBLEGUM">
      <a:srgbClr val="C40067"/>
    </a:custClr>
    <a:custClr name="MAROON">
      <a:srgbClr val="6A035C"/>
    </a:custClr>
    <a:custClr name="IRIS">
      <a:srgbClr val="908EC5"/>
    </a:custClr>
    <a:custClr name="LAVENDER">
      <a:srgbClr val="6A6AB1"/>
    </a:custClr>
    <a:custClr name="INDIGO">
      <a:srgbClr val="37237B"/>
    </a:custClr>
    <a:custClr name="White">
      <a:srgbClr val="FFFFFF"/>
    </a:custClr>
    <a:custClr name="HONEY">
      <a:srgbClr val="FFAC17"/>
    </a:custClr>
    <a:custClr name="ORANGE">
      <a:srgbClr val="F36C35"/>
    </a:custClr>
    <a:custClr name="CHOCOLATE">
      <a:srgbClr val="4B2514"/>
    </a:custClr>
    <a:custClr name="MELON">
      <a:srgbClr val="F79668"/>
    </a:custClr>
    <a:custClr name="DARKSIENNA">
      <a:srgbClr val="712300"/>
    </a:custClr>
    <a:custClr name="TREE">
      <a:srgbClr val="A4C032"/>
    </a:custClr>
    <a:custClr name="FOREST">
      <a:srgbClr val="2C3B0D"/>
    </a:custClr>
    <a:custClr name="AQUA">
      <a:srgbClr val="08C3A5"/>
    </a:custClr>
    <a:custClr name="DARKTEAL">
      <a:srgbClr val="06423D"/>
    </a:custClr>
    <a:custClr name="White">
      <a:srgbClr val="FFFFFF"/>
    </a:custClr>
    <a:custClr name="BLACK100">
      <a:srgbClr val="000000"/>
    </a:custClr>
    <a:custClr name="BLACK80">
      <a:srgbClr val="58595B"/>
    </a:custClr>
    <a:custClr name="BLACK60">
      <a:srgbClr val="808285"/>
    </a:custClr>
    <a:custClr name="BLACK40">
      <a:srgbClr val="A7A9AC"/>
    </a:custClr>
    <a:custClr name="BLACK20">
      <a:srgbClr val="CCCCCC"/>
    </a:custClr>
    <a:custClr name="Neutral1">
      <a:srgbClr val="473729"/>
    </a:custClr>
    <a:custClr name="Neutral2">
      <a:srgbClr val="7A6855"/>
    </a:custClr>
    <a:custClr name="Neutral3">
      <a:srgbClr val="A39382"/>
    </a:custClr>
    <a:custClr name="Neutral4">
      <a:srgbClr val="B7A99A"/>
    </a:custClr>
    <a:custClr name="Neutral5">
      <a:srgbClr val="D6D2C4"/>
    </a:custClr>
    <a:custClr name="SPGRed">
      <a:srgbClr val="D6002A"/>
    </a:custClr>
    <a:custClr name="GRAY50">
      <a:srgbClr val="808080"/>
    </a:custClr>
    <a:custClr name="White">
      <a:srgbClr val="FFFFFF"/>
    </a:custClr>
    <a:custClr name="White">
      <a:srgbClr val="FFFFFF"/>
    </a:custClr>
    <a:custClr name="White">
      <a:srgbClr val="FFFFFF"/>
    </a:custClr>
    <a:custClr name="PLAN">
      <a:srgbClr val="89BBA6"/>
    </a:custClr>
    <a:custClr name="PERFORM">
      <a:srgbClr val="B1C528"/>
    </a:custClr>
    <a:custClr name="LEARN">
      <a:srgbClr val="6986B1"/>
    </a:custClr>
    <a:custClr name="ASPIRE">
      <a:srgbClr val="9B555F"/>
    </a:custClr>
    <a:custClr name="CONNECT">
      <a:srgbClr val="FAA62A"/>
    </a:custClr>
  </a:custClrLst>
  <a:extLst>
    <a:ext uri="{05A4C25C-085E-4340-85A3-A5531E510DB2}">
      <thm15:themeFamily xmlns:thm15="http://schemas.microsoft.com/office/thememl/2012/main" name="SPG-TD-16x9 Template.pptx" id="{40BA0B2C-3643-4420-A80C-634A546454E7}" vid="{BF0B96AE-71F1-4B7C-8A4C-2A400CAFC3FB}"/>
    </a:ext>
  </a:extLst>
</a:theme>
</file>

<file path=ppt/theme/theme2.xml><?xml version="1.0" encoding="utf-8"?>
<a:theme xmlns:a="http://schemas.openxmlformats.org/drawingml/2006/main" name="S&amp;P Global 2016">
  <a:themeElements>
    <a:clrScheme name="Custom 43">
      <a:dk1>
        <a:sysClr val="windowText" lastClr="000000"/>
      </a:dk1>
      <a:lt1>
        <a:sysClr val="window" lastClr="FFFFFF"/>
      </a:lt1>
      <a:dk2>
        <a:srgbClr val="D6002A"/>
      </a:dk2>
      <a:lt2>
        <a:srgbClr val="DBD9D6"/>
      </a:lt2>
      <a:accent1>
        <a:srgbClr val="3C3C3B"/>
      </a:accent1>
      <a:accent2>
        <a:srgbClr val="7B1E29"/>
      </a:accent2>
      <a:accent3>
        <a:srgbClr val="D53814"/>
      </a:accent3>
      <a:accent4>
        <a:srgbClr val="BEB7A9"/>
      </a:accent4>
      <a:accent5>
        <a:srgbClr val="A79886"/>
      </a:accent5>
      <a:accent6>
        <a:srgbClr val="95B3CC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alent-Development</Template>
  <TotalTime>35102</TotalTime>
  <Words>2668</Words>
  <Application>Microsoft Office PowerPoint</Application>
  <PresentationFormat>Widescreen</PresentationFormat>
  <Paragraphs>862</Paragraphs>
  <Slides>3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3" baseType="lpstr">
      <vt:lpstr>.AppleSystemUIFont</vt:lpstr>
      <vt:lpstr>Akkurat Pro</vt:lpstr>
      <vt:lpstr>Arial</vt:lpstr>
      <vt:lpstr>Arial (Body)</vt:lpstr>
      <vt:lpstr>Arial Narrow</vt:lpstr>
      <vt:lpstr>Arial Regular</vt:lpstr>
      <vt:lpstr>Calibri</vt:lpstr>
      <vt:lpstr>Talent-Development</vt:lpstr>
      <vt:lpstr>S&amp;P Global 2016</vt:lpstr>
      <vt:lpstr>think-cell Slide</vt:lpstr>
      <vt:lpstr>      Analysis of Glassdoor Reviews for S&amp;P Global </vt:lpstr>
      <vt:lpstr>Agenda</vt:lpstr>
      <vt:lpstr>Executive Summary</vt:lpstr>
      <vt:lpstr>Overview</vt:lpstr>
      <vt:lpstr>Top Pros &amp; Cons Words about the Company</vt:lpstr>
      <vt:lpstr>Slicing &amp; Dicing Rating w.r.t. Tenure</vt:lpstr>
      <vt:lpstr>Good Words about the Company</vt:lpstr>
      <vt:lpstr>Top 3 Themes – For Pros </vt:lpstr>
      <vt:lpstr>Top 3 Themes – For Cons </vt:lpstr>
      <vt:lpstr>Top Keywords with Star Ratings (overall)</vt:lpstr>
      <vt:lpstr>Top Keywords with Star Ratings (Career Opportunity)</vt:lpstr>
      <vt:lpstr>Top Keywords with Star Ratings (Compensation &amp; Benefits)</vt:lpstr>
      <vt:lpstr>Top Keywords with Star Ratings (Culture and Value)</vt:lpstr>
      <vt:lpstr>Analysis on advise to Management</vt:lpstr>
      <vt:lpstr>What US and India Employees liked</vt:lpstr>
      <vt:lpstr>Overall satisfaction for all Division</vt:lpstr>
      <vt:lpstr>What Employees liked (based on each division)</vt:lpstr>
      <vt:lpstr>What Employees didn’t liked (based on each division)</vt:lpstr>
      <vt:lpstr>Future Work Opportunities </vt:lpstr>
      <vt:lpstr>      Appendix </vt:lpstr>
      <vt:lpstr>Good Words about the MI</vt:lpstr>
      <vt:lpstr>Good Words about the Platts</vt:lpstr>
      <vt:lpstr>Good Words about the DJI</vt:lpstr>
      <vt:lpstr>Good Words about the Ratings</vt:lpstr>
      <vt:lpstr>Overview – For 5 Subsections (Overall)</vt:lpstr>
      <vt:lpstr>Overview – For S&amp;P MI</vt:lpstr>
      <vt:lpstr>Overview – For S&amp;P Platts</vt:lpstr>
      <vt:lpstr>Overview – For S&amp;P DJI</vt:lpstr>
      <vt:lpstr>Overview – For S&amp;P Ratings</vt:lpstr>
      <vt:lpstr>Word Cloud For US</vt:lpstr>
      <vt:lpstr>Word Cloud For India</vt:lpstr>
      <vt:lpstr>Word Cloud For Current Employees </vt:lpstr>
      <vt:lpstr>Word Cloud For Former Employees </vt:lpstr>
    </vt:vector>
  </TitlesOfParts>
  <Company>The McGraw-Hill Compan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m, Seung</dc:creator>
  <cp:lastModifiedBy>Dattatrey, Surendra</cp:lastModifiedBy>
  <cp:revision>1069</cp:revision>
  <cp:lastPrinted>2018-10-09T20:26:37Z</cp:lastPrinted>
  <dcterms:created xsi:type="dcterms:W3CDTF">2018-06-06T19:57:16Z</dcterms:created>
  <dcterms:modified xsi:type="dcterms:W3CDTF">2019-09-18T12:4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55345239-8BBE-4C6F-8B97-E30A4F87C0BB</vt:lpwstr>
  </property>
  <property fmtid="{D5CDD505-2E9C-101B-9397-08002B2CF9AE}" pid="3" name="ArticulatePath">
    <vt:lpwstr>2018 BOD Talent Review DRAFT v3 06.08.18</vt:lpwstr>
  </property>
</Properties>
</file>